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9.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0.xml" ContentType="application/vnd.openxmlformats-officedocument.presentationml.tags+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1.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2.xml" ContentType="application/vnd.openxmlformats-officedocument.presentationml.tags+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3.xml" ContentType="application/vnd.openxmlformats-officedocument.presentationml.tags+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4.xml" ContentType="application/vnd.openxmlformats-officedocument.presentationml.tags+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5.xml" ContentType="application/vnd.openxmlformats-officedocument.presentationml.tags+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6.xml" ContentType="application/vnd.openxmlformats-officedocument.presentationml.tags+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7.xml" ContentType="application/vnd.openxmlformats-officedocument.presentationml.tags+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8.xml" ContentType="application/vnd.openxmlformats-officedocument.presentationml.tags+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9.xml" ContentType="application/vnd.openxmlformats-officedocument.presentationml.tags+xml"/>
  <Override PartName="/ppt/notesSlides/notesSlide1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2.xml" ContentType="application/vnd.openxmlformats-officedocument.presentationml.tags+xml"/>
  <Override PartName="/ppt/notesSlides/notesSlide1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43.xml" ContentType="application/vnd.openxmlformats-officedocument.presentationml.tags+xml"/>
  <Override PartName="/ppt/notesSlides/notesSlide19.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44.xml" ContentType="application/vnd.openxmlformats-officedocument.presentationml.tags+xml"/>
  <Override PartName="/ppt/notesSlides/notesSlide2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45.xml" ContentType="application/vnd.openxmlformats-officedocument.presentationml.tags+xml"/>
  <Override PartName="/ppt/notesSlides/notesSlide2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46.xml" ContentType="application/vnd.openxmlformats-officedocument.presentationml.tags+xml"/>
  <Override PartName="/ppt/notesSlides/notesSlide2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47.xml" ContentType="application/vnd.openxmlformats-officedocument.presentationml.tags+xml"/>
  <Override PartName="/ppt/notesSlides/notesSlide23.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48.xml" ContentType="application/vnd.openxmlformats-officedocument.presentationml.tags+xml"/>
  <Override PartName="/ppt/notesSlides/notesSlide24.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49.xml" ContentType="application/vnd.openxmlformats-officedocument.presentationml.tags+xml"/>
  <Override PartName="/ppt/notesSlides/notesSlide25.xml" ContentType="application/vnd.openxmlformats-officedocument.presentationml.notesSlide+xml"/>
  <Override PartName="/ppt/tags/tag50.xml" ContentType="application/vnd.openxmlformats-officedocument.presentationml.tags+xml"/>
  <Override PartName="/ppt/notesSlides/notesSlide26.xml" ContentType="application/vnd.openxmlformats-officedocument.presentationml.notesSlide+xml"/>
  <Override PartName="/ppt/tags/tag51.xml" ContentType="application/vnd.openxmlformats-officedocument.presentationml.tags+xml"/>
  <Override PartName="/ppt/notesSlides/notesSlide27.xml" ContentType="application/vnd.openxmlformats-officedocument.presentationml.notesSlide+xml"/>
  <Override PartName="/ppt/tags/tag52.xml" ContentType="application/vnd.openxmlformats-officedocument.presentationml.tags+xml"/>
  <Override PartName="/ppt/notesSlides/notesSlide28.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53.xml" ContentType="application/vnd.openxmlformats-officedocument.presentationml.tags+xml"/>
  <Override PartName="/ppt/notesSlides/notesSlide29.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54.xml" ContentType="application/vnd.openxmlformats-officedocument.presentationml.tags+xml"/>
  <Override PartName="/ppt/notesSlides/notesSlide30.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55.xml" ContentType="application/vnd.openxmlformats-officedocument.presentationml.tags+xml"/>
  <Override PartName="/ppt/notesSlides/notesSlide31.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56.xml" ContentType="application/vnd.openxmlformats-officedocument.presentationml.tags+xml"/>
  <Override PartName="/ppt/notesSlides/notesSlide32.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57.xml" ContentType="application/vnd.openxmlformats-officedocument.presentationml.tags+xml"/>
  <Override PartName="/ppt/notesSlides/notesSlide33.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58.xml" ContentType="application/vnd.openxmlformats-officedocument.presentationml.tags+xml"/>
  <Override PartName="/ppt/notesSlides/notesSlide34.xml" ContentType="application/vnd.openxmlformats-officedocument.presentationml.notesSlide+xml"/>
  <Override PartName="/ppt/tags/tag59.xml" ContentType="application/vnd.openxmlformats-officedocument.presentationml.tags+xml"/>
  <Override PartName="/ppt/notesSlides/notesSlide35.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tags/tag60.xml" ContentType="application/vnd.openxmlformats-officedocument.presentationml.tags+xml"/>
  <Override PartName="/ppt/notesSlides/notesSlide36.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61.xml" ContentType="application/vnd.openxmlformats-officedocument.presentationml.tags+xml"/>
  <Override PartName="/ppt/notesSlides/notesSlide37.xml" ContentType="application/vnd.openxmlformats-officedocument.presentationml.notesSlide+xml"/>
  <Override PartName="/ppt/tags/tag62.xml" ContentType="application/vnd.openxmlformats-officedocument.presentationml.tags+xml"/>
  <Override PartName="/ppt/notesSlides/notesSlide38.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63.xml" ContentType="application/vnd.openxmlformats-officedocument.presentationml.tags+xml"/>
  <Override PartName="/ppt/notesSlides/notesSlide39.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tags/tag64.xml" ContentType="application/vnd.openxmlformats-officedocument.presentationml.tags+xml"/>
  <Override PartName="/ppt/notesSlides/notesSlide40.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tags/tag65.xml" ContentType="application/vnd.openxmlformats-officedocument.presentationml.tags+xml"/>
  <Override PartName="/ppt/notesSlides/notesSlide41.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tags/tag66.xml" ContentType="application/vnd.openxmlformats-officedocument.presentationml.tags+xml"/>
  <Override PartName="/ppt/notesSlides/notesSlide42.xml" ContentType="application/vnd.openxmlformats-officedocument.presentationml.notesSlide+xml"/>
  <Override PartName="/ppt/tags/tag67.xml" ContentType="application/vnd.openxmlformats-officedocument.presentationml.tags+xml"/>
  <Override PartName="/ppt/notesSlides/notesSlide43.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tags/tag68.xml" ContentType="application/vnd.openxmlformats-officedocument.presentationml.tags+xml"/>
  <Override PartName="/ppt/notesSlides/notesSlide44.xml" ContentType="application/vnd.openxmlformats-officedocument.presentationml.notesSlide+xml"/>
  <Override PartName="/ppt/tags/tag69.xml" ContentType="application/vnd.openxmlformats-officedocument.presentationml.tags+xml"/>
  <Override PartName="/ppt/notesSlides/notesSlide45.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4"/>
    <p:sldMasterId id="2147483723" r:id="rId5"/>
    <p:sldMasterId id="2147483726" r:id="rId6"/>
    <p:sldMasterId id="2147483727" r:id="rId7"/>
    <p:sldMasterId id="2147483737" r:id="rId8"/>
    <p:sldMasterId id="2147483739" r:id="rId9"/>
    <p:sldMasterId id="2147483742" r:id="rId10"/>
    <p:sldMasterId id="2147483743" r:id="rId11"/>
  </p:sldMasterIdLst>
  <p:notesMasterIdLst>
    <p:notesMasterId r:id="rId57"/>
  </p:notesMasterIdLst>
  <p:handoutMasterIdLst>
    <p:handoutMasterId r:id="rId58"/>
  </p:handoutMasterIdLst>
  <p:sldIdLst>
    <p:sldId id="256" r:id="rId12"/>
    <p:sldId id="257" r:id="rId13"/>
    <p:sldId id="258" r:id="rId14"/>
    <p:sldId id="259" r:id="rId15"/>
    <p:sldId id="260" r:id="rId16"/>
    <p:sldId id="301" r:id="rId17"/>
    <p:sldId id="302" r:id="rId18"/>
    <p:sldId id="303" r:id="rId19"/>
    <p:sldId id="262" r:id="rId20"/>
    <p:sldId id="263" r:id="rId21"/>
    <p:sldId id="264" r:id="rId22"/>
    <p:sldId id="316" r:id="rId23"/>
    <p:sldId id="305" r:id="rId24"/>
    <p:sldId id="306" r:id="rId25"/>
    <p:sldId id="307" r:id="rId26"/>
    <p:sldId id="308" r:id="rId27"/>
    <p:sldId id="309" r:id="rId28"/>
    <p:sldId id="310" r:id="rId29"/>
    <p:sldId id="311" r:id="rId30"/>
    <p:sldId id="312" r:id="rId31"/>
    <p:sldId id="315" r:id="rId32"/>
    <p:sldId id="314" r:id="rId33"/>
    <p:sldId id="270" r:id="rId34"/>
    <p:sldId id="271" r:id="rId35"/>
    <p:sldId id="272" r:id="rId36"/>
    <p:sldId id="273" r:id="rId37"/>
    <p:sldId id="274" r:id="rId38"/>
    <p:sldId id="275" r:id="rId39"/>
    <p:sldId id="276" r:id="rId40"/>
    <p:sldId id="277" r:id="rId41"/>
    <p:sldId id="278" r:id="rId42"/>
    <p:sldId id="279" r:id="rId43"/>
    <p:sldId id="288" r:id="rId44"/>
    <p:sldId id="289" r:id="rId45"/>
    <p:sldId id="290" r:id="rId46"/>
    <p:sldId id="291" r:id="rId47"/>
    <p:sldId id="292" r:id="rId48"/>
    <p:sldId id="293" r:id="rId49"/>
    <p:sldId id="294" r:id="rId50"/>
    <p:sldId id="295" r:id="rId51"/>
    <p:sldId id="296" r:id="rId52"/>
    <p:sldId id="297" r:id="rId53"/>
    <p:sldId id="298" r:id="rId54"/>
    <p:sldId id="299" r:id="rId55"/>
    <p:sldId id="300" r:id="rId5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04"/>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00" autoAdjust="0"/>
    <p:restoredTop sz="79245" autoAdjust="0"/>
  </p:normalViewPr>
  <p:slideViewPr>
    <p:cSldViewPr snapToGrid="0" showGuides="1">
      <p:cViewPr varScale="1">
        <p:scale>
          <a:sx n="73" d="100"/>
          <a:sy n="73" d="100"/>
        </p:scale>
        <p:origin x="2034" y="5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9E46C3-35B3-4365-B74B-3A8F7DDC88E0}"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7211B131-ED07-42FD-BB21-038184288CFF}">
      <dgm:prSet phldrT="[Text]" custT="1"/>
      <dgm:spPr/>
      <dgm:t>
        <a:bodyPr/>
        <a:lstStyle/>
        <a:p>
          <a:r>
            <a:rPr lang="hu-HU" sz="2000" dirty="0" smtClean="0"/>
            <a:t>Create</a:t>
          </a:r>
          <a:endParaRPr lang="en-US" sz="2000" dirty="0"/>
        </a:p>
      </dgm:t>
    </dgm:pt>
    <dgm:pt modelId="{C9CFAC4E-EA99-48EB-8C1C-FBDD3A0C2913}" type="parTrans" cxnId="{A4F755CD-A19B-4FDA-B44B-9B21753F0297}">
      <dgm:prSet/>
      <dgm:spPr/>
      <dgm:t>
        <a:bodyPr/>
        <a:lstStyle/>
        <a:p>
          <a:endParaRPr lang="en-US" sz="2000"/>
        </a:p>
      </dgm:t>
    </dgm:pt>
    <dgm:pt modelId="{BB4B2557-5E47-4E00-AEAF-3AF301B34AAE}" type="sibTrans" cxnId="{A4F755CD-A19B-4FDA-B44B-9B21753F0297}">
      <dgm:prSet/>
      <dgm:spPr/>
      <dgm:t>
        <a:bodyPr/>
        <a:lstStyle/>
        <a:p>
          <a:endParaRPr lang="en-US" sz="2000"/>
        </a:p>
      </dgm:t>
    </dgm:pt>
    <dgm:pt modelId="{FBE65A5C-ED01-462A-A52A-3993B357F278}">
      <dgm:prSet phldrT="[Text]" custT="1"/>
      <dgm:spPr/>
      <dgm:t>
        <a:bodyPr/>
        <a:lstStyle/>
        <a:p>
          <a:r>
            <a:rPr lang="hu-HU" sz="2000" dirty="0" smtClean="0"/>
            <a:t>Read</a:t>
          </a:r>
          <a:endParaRPr lang="en-US" sz="2000" dirty="0"/>
        </a:p>
      </dgm:t>
    </dgm:pt>
    <dgm:pt modelId="{B6A564BE-BFA0-411C-9069-99A8907C0EFC}" type="parTrans" cxnId="{4B82AECB-E310-4C69-B9DB-E464411505DA}">
      <dgm:prSet/>
      <dgm:spPr/>
      <dgm:t>
        <a:bodyPr/>
        <a:lstStyle/>
        <a:p>
          <a:endParaRPr lang="en-US" sz="2000"/>
        </a:p>
      </dgm:t>
    </dgm:pt>
    <dgm:pt modelId="{655D4D66-3034-47D7-BE27-B11D598A29D4}" type="sibTrans" cxnId="{4B82AECB-E310-4C69-B9DB-E464411505DA}">
      <dgm:prSet/>
      <dgm:spPr/>
      <dgm:t>
        <a:bodyPr/>
        <a:lstStyle/>
        <a:p>
          <a:endParaRPr lang="en-US" sz="2000"/>
        </a:p>
      </dgm:t>
    </dgm:pt>
    <dgm:pt modelId="{8ED9F03D-5C81-45DB-970E-EC4443EBEA04}">
      <dgm:prSet phldrT="[Text]" custT="1"/>
      <dgm:spPr/>
      <dgm:t>
        <a:bodyPr/>
        <a:lstStyle/>
        <a:p>
          <a:r>
            <a:rPr lang="hu-HU" sz="2000" dirty="0" smtClean="0"/>
            <a:t>Update</a:t>
          </a:r>
          <a:endParaRPr lang="en-US" sz="2000" dirty="0"/>
        </a:p>
      </dgm:t>
    </dgm:pt>
    <dgm:pt modelId="{1E6AAE5C-B067-45AC-B614-80DFAF7BFC79}" type="parTrans" cxnId="{772D2621-7677-45D7-ABAD-428E34409A58}">
      <dgm:prSet/>
      <dgm:spPr/>
      <dgm:t>
        <a:bodyPr/>
        <a:lstStyle/>
        <a:p>
          <a:endParaRPr lang="en-US" sz="2000"/>
        </a:p>
      </dgm:t>
    </dgm:pt>
    <dgm:pt modelId="{C0EED74C-3F6D-4523-9871-497C822693E4}" type="sibTrans" cxnId="{772D2621-7677-45D7-ABAD-428E34409A58}">
      <dgm:prSet/>
      <dgm:spPr/>
      <dgm:t>
        <a:bodyPr/>
        <a:lstStyle/>
        <a:p>
          <a:endParaRPr lang="en-US" sz="2000"/>
        </a:p>
      </dgm:t>
    </dgm:pt>
    <dgm:pt modelId="{C43A6CFB-DA6C-4C48-955B-79487CADE7F7}">
      <dgm:prSet phldrT="[Text]" custT="1"/>
      <dgm:spPr/>
      <dgm:t>
        <a:bodyPr/>
        <a:lstStyle/>
        <a:p>
          <a:r>
            <a:rPr lang="hu-HU" sz="2000" dirty="0" smtClean="0"/>
            <a:t>Delete</a:t>
          </a:r>
          <a:endParaRPr lang="en-US" sz="2000" dirty="0"/>
        </a:p>
      </dgm:t>
    </dgm:pt>
    <dgm:pt modelId="{640F4303-D595-450A-8E95-B4C85B808BCB}" type="parTrans" cxnId="{1DA23C35-CA7B-470B-A42F-27468EE3F375}">
      <dgm:prSet/>
      <dgm:spPr/>
      <dgm:t>
        <a:bodyPr/>
        <a:lstStyle/>
        <a:p>
          <a:endParaRPr lang="en-US" sz="2000"/>
        </a:p>
      </dgm:t>
    </dgm:pt>
    <dgm:pt modelId="{1E333B4C-F12A-4EAF-B0FE-70B1E8E4E69C}" type="sibTrans" cxnId="{1DA23C35-CA7B-470B-A42F-27468EE3F375}">
      <dgm:prSet/>
      <dgm:spPr/>
      <dgm:t>
        <a:bodyPr/>
        <a:lstStyle/>
        <a:p>
          <a:endParaRPr lang="en-US" sz="2000"/>
        </a:p>
      </dgm:t>
    </dgm:pt>
    <dgm:pt modelId="{A6926215-2633-4564-B39F-E08114679ADA}">
      <dgm:prSet custT="1"/>
      <dgm:spPr/>
      <dgm:t>
        <a:bodyPr/>
        <a:lstStyle/>
        <a:p>
          <a:r>
            <a:rPr lang="hu-HU" sz="2000" dirty="0" smtClean="0"/>
            <a:t>db.collection.insert( &lt;document&gt; ) </a:t>
          </a:r>
          <a:endParaRPr lang="en-US" sz="2000" dirty="0"/>
        </a:p>
      </dgm:t>
    </dgm:pt>
    <dgm:pt modelId="{6C9DF8F4-9F79-4C57-B275-5239C507E21E}" type="parTrans" cxnId="{F85777BB-17DF-4A32-85A6-AFDDC72480CB}">
      <dgm:prSet/>
      <dgm:spPr/>
      <dgm:t>
        <a:bodyPr/>
        <a:lstStyle/>
        <a:p>
          <a:endParaRPr lang="en-US" sz="2000"/>
        </a:p>
      </dgm:t>
    </dgm:pt>
    <dgm:pt modelId="{902F9B32-D073-4899-A0C8-BFDF0895E1A8}" type="sibTrans" cxnId="{F85777BB-17DF-4A32-85A6-AFDDC72480CB}">
      <dgm:prSet/>
      <dgm:spPr/>
      <dgm:t>
        <a:bodyPr/>
        <a:lstStyle/>
        <a:p>
          <a:endParaRPr lang="en-US" sz="2000"/>
        </a:p>
      </dgm:t>
    </dgm:pt>
    <dgm:pt modelId="{13957885-08E3-49A9-AFF3-7039186A1068}">
      <dgm:prSet custT="1"/>
      <dgm:spPr/>
      <dgm:t>
        <a:bodyPr/>
        <a:lstStyle/>
        <a:p>
          <a:r>
            <a:rPr lang="hu-HU" sz="2000" smtClean="0"/>
            <a:t>db.collection.save( &lt;document&gt; ) </a:t>
          </a:r>
          <a:endParaRPr lang="hu-HU" sz="2000" dirty="0" smtClean="0"/>
        </a:p>
      </dgm:t>
    </dgm:pt>
    <dgm:pt modelId="{05EAD3CA-A346-4DD9-BB2F-B98C1BBC4705}" type="parTrans" cxnId="{81B84B9A-7814-4414-AB2C-F9C4C2261458}">
      <dgm:prSet/>
      <dgm:spPr/>
      <dgm:t>
        <a:bodyPr/>
        <a:lstStyle/>
        <a:p>
          <a:endParaRPr lang="en-US" sz="2000"/>
        </a:p>
      </dgm:t>
    </dgm:pt>
    <dgm:pt modelId="{FAB0B590-C498-43D4-8830-A52277C6A91F}" type="sibTrans" cxnId="{81B84B9A-7814-4414-AB2C-F9C4C2261458}">
      <dgm:prSet/>
      <dgm:spPr/>
      <dgm:t>
        <a:bodyPr/>
        <a:lstStyle/>
        <a:p>
          <a:endParaRPr lang="en-US" sz="2000"/>
        </a:p>
      </dgm:t>
    </dgm:pt>
    <dgm:pt modelId="{C07BEFF7-D018-472A-B60B-2E98C0F1BCAB}">
      <dgm:prSet custT="1"/>
      <dgm:spPr/>
      <dgm:t>
        <a:bodyPr/>
        <a:lstStyle/>
        <a:p>
          <a:r>
            <a:rPr lang="hu-HU" sz="2000" dirty="0" smtClean="0"/>
            <a:t>db.collection.update( &lt;query&gt;, &lt;update&gt;, { upsert: true } ) </a:t>
          </a:r>
        </a:p>
      </dgm:t>
    </dgm:pt>
    <dgm:pt modelId="{CB2DE79F-81DF-4D82-BB63-C6E99FC9B80D}" type="parTrans" cxnId="{748E27FC-98DA-4AA0-A489-516DC2FE8DE1}">
      <dgm:prSet/>
      <dgm:spPr/>
      <dgm:t>
        <a:bodyPr/>
        <a:lstStyle/>
        <a:p>
          <a:endParaRPr lang="en-US" sz="2000"/>
        </a:p>
      </dgm:t>
    </dgm:pt>
    <dgm:pt modelId="{EEF4FA83-B2F6-4C7A-9031-2D53DF73231A}" type="sibTrans" cxnId="{748E27FC-98DA-4AA0-A489-516DC2FE8DE1}">
      <dgm:prSet/>
      <dgm:spPr/>
      <dgm:t>
        <a:bodyPr/>
        <a:lstStyle/>
        <a:p>
          <a:endParaRPr lang="en-US" sz="2000"/>
        </a:p>
      </dgm:t>
    </dgm:pt>
    <dgm:pt modelId="{879FE467-F522-4654-804A-2D94CA52A598}">
      <dgm:prSet custT="1"/>
      <dgm:spPr/>
      <dgm:t>
        <a:bodyPr/>
        <a:lstStyle/>
        <a:p>
          <a:r>
            <a:rPr lang="hu-HU" sz="2000" dirty="0" smtClean="0"/>
            <a:t>db.collection.find( &lt;query&gt;, &lt;projection&gt; )</a:t>
          </a:r>
          <a:endParaRPr lang="en-US" sz="2000" dirty="0"/>
        </a:p>
      </dgm:t>
    </dgm:pt>
    <dgm:pt modelId="{DF2740EA-0D6E-4D51-ADCD-D9BED2AD172C}" type="parTrans" cxnId="{C5E54C68-EB7D-48BD-AEA4-F6D59073C2FF}">
      <dgm:prSet/>
      <dgm:spPr/>
      <dgm:t>
        <a:bodyPr/>
        <a:lstStyle/>
        <a:p>
          <a:endParaRPr lang="en-US" sz="2000"/>
        </a:p>
      </dgm:t>
    </dgm:pt>
    <dgm:pt modelId="{CD51F908-7B95-40A6-90DE-427BBFFC3CD2}" type="sibTrans" cxnId="{C5E54C68-EB7D-48BD-AEA4-F6D59073C2FF}">
      <dgm:prSet/>
      <dgm:spPr/>
      <dgm:t>
        <a:bodyPr/>
        <a:lstStyle/>
        <a:p>
          <a:endParaRPr lang="en-US" sz="2000"/>
        </a:p>
      </dgm:t>
    </dgm:pt>
    <dgm:pt modelId="{57E627D3-3077-4A82-9846-04F69746C58A}">
      <dgm:prSet custT="1"/>
      <dgm:spPr/>
      <dgm:t>
        <a:bodyPr/>
        <a:lstStyle/>
        <a:p>
          <a:r>
            <a:rPr lang="hu-HU" sz="2000" dirty="0" smtClean="0"/>
            <a:t>db.collection.findOne( &lt;query&gt;, &lt;projection&gt; ) </a:t>
          </a:r>
        </a:p>
      </dgm:t>
    </dgm:pt>
    <dgm:pt modelId="{CB18CAA9-FA65-48F0-AD3F-2DA5477DA249}" type="parTrans" cxnId="{03F0CCF4-87EC-4A67-9B17-510F29A3BA38}">
      <dgm:prSet/>
      <dgm:spPr/>
      <dgm:t>
        <a:bodyPr/>
        <a:lstStyle/>
        <a:p>
          <a:endParaRPr lang="en-US" sz="2000"/>
        </a:p>
      </dgm:t>
    </dgm:pt>
    <dgm:pt modelId="{7E29D7A1-A929-4785-A42D-62A664D4EC4B}" type="sibTrans" cxnId="{03F0CCF4-87EC-4A67-9B17-510F29A3BA38}">
      <dgm:prSet/>
      <dgm:spPr/>
      <dgm:t>
        <a:bodyPr/>
        <a:lstStyle/>
        <a:p>
          <a:endParaRPr lang="en-US" sz="2000"/>
        </a:p>
      </dgm:t>
    </dgm:pt>
    <dgm:pt modelId="{0955700F-5D9F-48D1-8E4B-B0BB125AD29C}">
      <dgm:prSet custT="1"/>
      <dgm:spPr/>
      <dgm:t>
        <a:bodyPr/>
        <a:lstStyle/>
        <a:p>
          <a:r>
            <a:rPr lang="hu-HU" sz="2000" dirty="0" smtClean="0"/>
            <a:t>db.collection.update( &lt;query&gt;, &lt;update&gt;, &lt;options&gt; ) </a:t>
          </a:r>
          <a:endParaRPr lang="en-US" sz="2000" dirty="0"/>
        </a:p>
      </dgm:t>
    </dgm:pt>
    <dgm:pt modelId="{80CC5E34-6B28-4BE6-A46D-12B960C17E4C}" type="parTrans" cxnId="{41A842A4-D7C2-4DE9-9E95-C6DB7F328A7D}">
      <dgm:prSet/>
      <dgm:spPr/>
      <dgm:t>
        <a:bodyPr/>
        <a:lstStyle/>
        <a:p>
          <a:endParaRPr lang="en-US" sz="2000"/>
        </a:p>
      </dgm:t>
    </dgm:pt>
    <dgm:pt modelId="{0833EC0A-C2CB-4553-8756-452070EEB249}" type="sibTrans" cxnId="{41A842A4-D7C2-4DE9-9E95-C6DB7F328A7D}">
      <dgm:prSet/>
      <dgm:spPr/>
      <dgm:t>
        <a:bodyPr/>
        <a:lstStyle/>
        <a:p>
          <a:endParaRPr lang="en-US" sz="2000"/>
        </a:p>
      </dgm:t>
    </dgm:pt>
    <dgm:pt modelId="{02FB2598-648C-457C-8F41-D8EBA6B22F3D}">
      <dgm:prSet custT="1"/>
      <dgm:spPr/>
      <dgm:t>
        <a:bodyPr/>
        <a:lstStyle/>
        <a:p>
          <a:r>
            <a:rPr lang="hu-HU" sz="2000" dirty="0" smtClean="0"/>
            <a:t>db.collection.remove( &lt;query&gt;, &lt;justOne&gt; ) </a:t>
          </a:r>
          <a:endParaRPr lang="en-US" sz="2000" dirty="0"/>
        </a:p>
      </dgm:t>
    </dgm:pt>
    <dgm:pt modelId="{0A6F2EA8-096F-4AF7-AFA8-2A6298B8EEFE}" type="parTrans" cxnId="{A333ACD3-1FC6-4D3D-8A39-4F18D88B01E4}">
      <dgm:prSet/>
      <dgm:spPr/>
      <dgm:t>
        <a:bodyPr/>
        <a:lstStyle/>
        <a:p>
          <a:endParaRPr lang="en-US" sz="2000"/>
        </a:p>
      </dgm:t>
    </dgm:pt>
    <dgm:pt modelId="{9F20C385-A93D-4CE8-B131-FE2DEE2057B7}" type="sibTrans" cxnId="{A333ACD3-1FC6-4D3D-8A39-4F18D88B01E4}">
      <dgm:prSet/>
      <dgm:spPr/>
      <dgm:t>
        <a:bodyPr/>
        <a:lstStyle/>
        <a:p>
          <a:endParaRPr lang="en-US" sz="2000"/>
        </a:p>
      </dgm:t>
    </dgm:pt>
    <dgm:pt modelId="{41290E10-73E4-4D6A-BDA2-CF64B6543696}" type="pres">
      <dgm:prSet presAssocID="{A99E46C3-35B3-4365-B74B-3A8F7DDC88E0}" presName="linear" presStyleCnt="0">
        <dgm:presLayoutVars>
          <dgm:dir/>
          <dgm:animLvl val="lvl"/>
          <dgm:resizeHandles val="exact"/>
        </dgm:presLayoutVars>
      </dgm:prSet>
      <dgm:spPr/>
      <dgm:t>
        <a:bodyPr/>
        <a:lstStyle/>
        <a:p>
          <a:endParaRPr lang="en-US"/>
        </a:p>
      </dgm:t>
    </dgm:pt>
    <dgm:pt modelId="{1938DDEA-E8C9-45B6-BFB7-9AA4FC0F3368}" type="pres">
      <dgm:prSet presAssocID="{7211B131-ED07-42FD-BB21-038184288CFF}" presName="parentLin" presStyleCnt="0"/>
      <dgm:spPr/>
    </dgm:pt>
    <dgm:pt modelId="{16D3DEE7-2535-47BE-B364-8215927704AE}" type="pres">
      <dgm:prSet presAssocID="{7211B131-ED07-42FD-BB21-038184288CFF}" presName="parentLeftMargin" presStyleLbl="node1" presStyleIdx="0" presStyleCnt="4"/>
      <dgm:spPr/>
      <dgm:t>
        <a:bodyPr/>
        <a:lstStyle/>
        <a:p>
          <a:endParaRPr lang="en-US"/>
        </a:p>
      </dgm:t>
    </dgm:pt>
    <dgm:pt modelId="{9347BFB2-DB28-475A-80CC-F506CD54F3F5}" type="pres">
      <dgm:prSet presAssocID="{7211B131-ED07-42FD-BB21-038184288CFF}" presName="parentText" presStyleLbl="node1" presStyleIdx="0" presStyleCnt="4">
        <dgm:presLayoutVars>
          <dgm:chMax val="0"/>
          <dgm:bulletEnabled val="1"/>
        </dgm:presLayoutVars>
      </dgm:prSet>
      <dgm:spPr/>
      <dgm:t>
        <a:bodyPr/>
        <a:lstStyle/>
        <a:p>
          <a:endParaRPr lang="en-US"/>
        </a:p>
      </dgm:t>
    </dgm:pt>
    <dgm:pt modelId="{44E6B81F-BB8B-4F7C-82D9-C3B29FC7239A}" type="pres">
      <dgm:prSet presAssocID="{7211B131-ED07-42FD-BB21-038184288CFF}" presName="negativeSpace" presStyleCnt="0"/>
      <dgm:spPr/>
    </dgm:pt>
    <dgm:pt modelId="{342394C5-0AFD-4DC1-AB3B-FB40A8D91A15}" type="pres">
      <dgm:prSet presAssocID="{7211B131-ED07-42FD-BB21-038184288CFF}" presName="childText" presStyleLbl="conFgAcc1" presStyleIdx="0" presStyleCnt="4">
        <dgm:presLayoutVars>
          <dgm:bulletEnabled val="1"/>
        </dgm:presLayoutVars>
      </dgm:prSet>
      <dgm:spPr/>
      <dgm:t>
        <a:bodyPr/>
        <a:lstStyle/>
        <a:p>
          <a:endParaRPr lang="en-US"/>
        </a:p>
      </dgm:t>
    </dgm:pt>
    <dgm:pt modelId="{F99D7488-7459-4988-9DC0-8C2DDFE2D2CA}" type="pres">
      <dgm:prSet presAssocID="{BB4B2557-5E47-4E00-AEAF-3AF301B34AAE}" presName="spaceBetweenRectangles" presStyleCnt="0"/>
      <dgm:spPr/>
    </dgm:pt>
    <dgm:pt modelId="{E9277A2A-AF9C-4C44-AD56-CE6E1626D8C9}" type="pres">
      <dgm:prSet presAssocID="{FBE65A5C-ED01-462A-A52A-3993B357F278}" presName="parentLin" presStyleCnt="0"/>
      <dgm:spPr/>
    </dgm:pt>
    <dgm:pt modelId="{34D38180-F31C-4DE7-97ED-4CCA7EDF6B2F}" type="pres">
      <dgm:prSet presAssocID="{FBE65A5C-ED01-462A-A52A-3993B357F278}" presName="parentLeftMargin" presStyleLbl="node1" presStyleIdx="0" presStyleCnt="4"/>
      <dgm:spPr/>
      <dgm:t>
        <a:bodyPr/>
        <a:lstStyle/>
        <a:p>
          <a:endParaRPr lang="en-US"/>
        </a:p>
      </dgm:t>
    </dgm:pt>
    <dgm:pt modelId="{5C94E0A5-5048-43D3-BFF9-9C2EB3349FDA}" type="pres">
      <dgm:prSet presAssocID="{FBE65A5C-ED01-462A-A52A-3993B357F278}" presName="parentText" presStyleLbl="node1" presStyleIdx="1" presStyleCnt="4">
        <dgm:presLayoutVars>
          <dgm:chMax val="0"/>
          <dgm:bulletEnabled val="1"/>
        </dgm:presLayoutVars>
      </dgm:prSet>
      <dgm:spPr/>
      <dgm:t>
        <a:bodyPr/>
        <a:lstStyle/>
        <a:p>
          <a:endParaRPr lang="en-US"/>
        </a:p>
      </dgm:t>
    </dgm:pt>
    <dgm:pt modelId="{1D8BDD63-0B21-4CA8-BBDC-DB356D24DC6B}" type="pres">
      <dgm:prSet presAssocID="{FBE65A5C-ED01-462A-A52A-3993B357F278}" presName="negativeSpace" presStyleCnt="0"/>
      <dgm:spPr/>
    </dgm:pt>
    <dgm:pt modelId="{8AF9A7BD-878F-4365-BC3C-32E0C76E47FD}" type="pres">
      <dgm:prSet presAssocID="{FBE65A5C-ED01-462A-A52A-3993B357F278}" presName="childText" presStyleLbl="conFgAcc1" presStyleIdx="1" presStyleCnt="4">
        <dgm:presLayoutVars>
          <dgm:bulletEnabled val="1"/>
        </dgm:presLayoutVars>
      </dgm:prSet>
      <dgm:spPr/>
      <dgm:t>
        <a:bodyPr/>
        <a:lstStyle/>
        <a:p>
          <a:endParaRPr lang="en-US"/>
        </a:p>
      </dgm:t>
    </dgm:pt>
    <dgm:pt modelId="{0D4FB045-9D5A-4672-A418-60F43B3F9965}" type="pres">
      <dgm:prSet presAssocID="{655D4D66-3034-47D7-BE27-B11D598A29D4}" presName="spaceBetweenRectangles" presStyleCnt="0"/>
      <dgm:spPr/>
    </dgm:pt>
    <dgm:pt modelId="{B9AD68DC-6262-4352-B322-36AABB90517A}" type="pres">
      <dgm:prSet presAssocID="{8ED9F03D-5C81-45DB-970E-EC4443EBEA04}" presName="parentLin" presStyleCnt="0"/>
      <dgm:spPr/>
    </dgm:pt>
    <dgm:pt modelId="{C7378050-2A61-4D1C-8B35-74ED670CC8FA}" type="pres">
      <dgm:prSet presAssocID="{8ED9F03D-5C81-45DB-970E-EC4443EBEA04}" presName="parentLeftMargin" presStyleLbl="node1" presStyleIdx="1" presStyleCnt="4"/>
      <dgm:spPr/>
      <dgm:t>
        <a:bodyPr/>
        <a:lstStyle/>
        <a:p>
          <a:endParaRPr lang="en-US"/>
        </a:p>
      </dgm:t>
    </dgm:pt>
    <dgm:pt modelId="{E5C0BAA8-AAFE-4AC3-9DBF-9D70A9686A2E}" type="pres">
      <dgm:prSet presAssocID="{8ED9F03D-5C81-45DB-970E-EC4443EBEA04}" presName="parentText" presStyleLbl="node1" presStyleIdx="2" presStyleCnt="4">
        <dgm:presLayoutVars>
          <dgm:chMax val="0"/>
          <dgm:bulletEnabled val="1"/>
        </dgm:presLayoutVars>
      </dgm:prSet>
      <dgm:spPr/>
      <dgm:t>
        <a:bodyPr/>
        <a:lstStyle/>
        <a:p>
          <a:endParaRPr lang="en-US"/>
        </a:p>
      </dgm:t>
    </dgm:pt>
    <dgm:pt modelId="{1638ABF7-011F-4F66-BE53-2B5EAB1E0A92}" type="pres">
      <dgm:prSet presAssocID="{8ED9F03D-5C81-45DB-970E-EC4443EBEA04}" presName="negativeSpace" presStyleCnt="0"/>
      <dgm:spPr/>
    </dgm:pt>
    <dgm:pt modelId="{034F2A86-E329-476B-A9C5-A6FA9EEC81E4}" type="pres">
      <dgm:prSet presAssocID="{8ED9F03D-5C81-45DB-970E-EC4443EBEA04}" presName="childText" presStyleLbl="conFgAcc1" presStyleIdx="2" presStyleCnt="4">
        <dgm:presLayoutVars>
          <dgm:bulletEnabled val="1"/>
        </dgm:presLayoutVars>
      </dgm:prSet>
      <dgm:spPr/>
      <dgm:t>
        <a:bodyPr/>
        <a:lstStyle/>
        <a:p>
          <a:endParaRPr lang="en-US"/>
        </a:p>
      </dgm:t>
    </dgm:pt>
    <dgm:pt modelId="{4A8D9B6F-F169-4116-9602-22C14154F837}" type="pres">
      <dgm:prSet presAssocID="{C0EED74C-3F6D-4523-9871-497C822693E4}" presName="spaceBetweenRectangles" presStyleCnt="0"/>
      <dgm:spPr/>
    </dgm:pt>
    <dgm:pt modelId="{7BB003E0-4E2B-462D-A3AF-1741C22C1479}" type="pres">
      <dgm:prSet presAssocID="{C43A6CFB-DA6C-4C48-955B-79487CADE7F7}" presName="parentLin" presStyleCnt="0"/>
      <dgm:spPr/>
    </dgm:pt>
    <dgm:pt modelId="{2A7EF0AA-87AB-4EB8-A877-2E304CD2913E}" type="pres">
      <dgm:prSet presAssocID="{C43A6CFB-DA6C-4C48-955B-79487CADE7F7}" presName="parentLeftMargin" presStyleLbl="node1" presStyleIdx="2" presStyleCnt="4"/>
      <dgm:spPr/>
      <dgm:t>
        <a:bodyPr/>
        <a:lstStyle/>
        <a:p>
          <a:endParaRPr lang="en-US"/>
        </a:p>
      </dgm:t>
    </dgm:pt>
    <dgm:pt modelId="{30585B62-2AA4-4FF7-A73E-F050DB15F43D}" type="pres">
      <dgm:prSet presAssocID="{C43A6CFB-DA6C-4C48-955B-79487CADE7F7}" presName="parentText" presStyleLbl="node1" presStyleIdx="3" presStyleCnt="4">
        <dgm:presLayoutVars>
          <dgm:chMax val="0"/>
          <dgm:bulletEnabled val="1"/>
        </dgm:presLayoutVars>
      </dgm:prSet>
      <dgm:spPr/>
      <dgm:t>
        <a:bodyPr/>
        <a:lstStyle/>
        <a:p>
          <a:endParaRPr lang="en-US"/>
        </a:p>
      </dgm:t>
    </dgm:pt>
    <dgm:pt modelId="{88185554-0E52-4AC9-9270-428FD37BE295}" type="pres">
      <dgm:prSet presAssocID="{C43A6CFB-DA6C-4C48-955B-79487CADE7F7}" presName="negativeSpace" presStyleCnt="0"/>
      <dgm:spPr/>
    </dgm:pt>
    <dgm:pt modelId="{E481EFDC-E508-47D2-A7AF-DACCF3E1C511}" type="pres">
      <dgm:prSet presAssocID="{C43A6CFB-DA6C-4C48-955B-79487CADE7F7}" presName="childText" presStyleLbl="conFgAcc1" presStyleIdx="3" presStyleCnt="4">
        <dgm:presLayoutVars>
          <dgm:bulletEnabled val="1"/>
        </dgm:presLayoutVars>
      </dgm:prSet>
      <dgm:spPr/>
      <dgm:t>
        <a:bodyPr/>
        <a:lstStyle/>
        <a:p>
          <a:endParaRPr lang="en-US"/>
        </a:p>
      </dgm:t>
    </dgm:pt>
  </dgm:ptLst>
  <dgm:cxnLst>
    <dgm:cxn modelId="{06FE7DBD-68E0-497B-8E32-30C2F74F6AAD}" type="presOf" srcId="{A6926215-2633-4564-B39F-E08114679ADA}" destId="{342394C5-0AFD-4DC1-AB3B-FB40A8D91A15}" srcOrd="0" destOrd="0" presId="urn:microsoft.com/office/officeart/2005/8/layout/list1"/>
    <dgm:cxn modelId="{4B82AECB-E310-4C69-B9DB-E464411505DA}" srcId="{A99E46C3-35B3-4365-B74B-3A8F7DDC88E0}" destId="{FBE65A5C-ED01-462A-A52A-3993B357F278}" srcOrd="1" destOrd="0" parTransId="{B6A564BE-BFA0-411C-9069-99A8907C0EFC}" sibTransId="{655D4D66-3034-47D7-BE27-B11D598A29D4}"/>
    <dgm:cxn modelId="{C5E54C68-EB7D-48BD-AEA4-F6D59073C2FF}" srcId="{FBE65A5C-ED01-462A-A52A-3993B357F278}" destId="{879FE467-F522-4654-804A-2D94CA52A598}" srcOrd="0" destOrd="0" parTransId="{DF2740EA-0D6E-4D51-ADCD-D9BED2AD172C}" sibTransId="{CD51F908-7B95-40A6-90DE-427BBFFC3CD2}"/>
    <dgm:cxn modelId="{6E7ACAC5-F3E5-47A8-8ABB-A238D7177999}" type="presOf" srcId="{13957885-08E3-49A9-AFF3-7039186A1068}" destId="{342394C5-0AFD-4DC1-AB3B-FB40A8D91A15}" srcOrd="0" destOrd="1" presId="urn:microsoft.com/office/officeart/2005/8/layout/list1"/>
    <dgm:cxn modelId="{4C33072E-836F-46B6-B653-D94018BD59BF}" type="presOf" srcId="{8ED9F03D-5C81-45DB-970E-EC4443EBEA04}" destId="{E5C0BAA8-AAFE-4AC3-9DBF-9D70A9686A2E}" srcOrd="1" destOrd="0" presId="urn:microsoft.com/office/officeart/2005/8/layout/list1"/>
    <dgm:cxn modelId="{5683D710-166E-4671-BE9F-E066C9B612AF}" type="presOf" srcId="{C43A6CFB-DA6C-4C48-955B-79487CADE7F7}" destId="{30585B62-2AA4-4FF7-A73E-F050DB15F43D}" srcOrd="1" destOrd="0" presId="urn:microsoft.com/office/officeart/2005/8/layout/list1"/>
    <dgm:cxn modelId="{D335816E-AF3C-437E-9238-D72674DBD52D}" type="presOf" srcId="{A99E46C3-35B3-4365-B74B-3A8F7DDC88E0}" destId="{41290E10-73E4-4D6A-BDA2-CF64B6543696}" srcOrd="0" destOrd="0" presId="urn:microsoft.com/office/officeart/2005/8/layout/list1"/>
    <dgm:cxn modelId="{959A2575-8293-4EBF-9BC4-87618841C1EA}" type="presOf" srcId="{7211B131-ED07-42FD-BB21-038184288CFF}" destId="{9347BFB2-DB28-475A-80CC-F506CD54F3F5}" srcOrd="1" destOrd="0" presId="urn:microsoft.com/office/officeart/2005/8/layout/list1"/>
    <dgm:cxn modelId="{0D51A3FC-DD1E-4CE7-82EF-A8135B2AE9C7}" type="presOf" srcId="{57E627D3-3077-4A82-9846-04F69746C58A}" destId="{8AF9A7BD-878F-4365-BC3C-32E0C76E47FD}" srcOrd="0" destOrd="1" presId="urn:microsoft.com/office/officeart/2005/8/layout/list1"/>
    <dgm:cxn modelId="{5AAB6D6F-C75C-4F6D-92CB-CFFA3A662955}" type="presOf" srcId="{C07BEFF7-D018-472A-B60B-2E98C0F1BCAB}" destId="{342394C5-0AFD-4DC1-AB3B-FB40A8D91A15}" srcOrd="0" destOrd="2" presId="urn:microsoft.com/office/officeart/2005/8/layout/list1"/>
    <dgm:cxn modelId="{1C769325-0296-4DE4-A40B-E5048D976D20}" type="presOf" srcId="{02FB2598-648C-457C-8F41-D8EBA6B22F3D}" destId="{E481EFDC-E508-47D2-A7AF-DACCF3E1C511}" srcOrd="0" destOrd="0" presId="urn:microsoft.com/office/officeart/2005/8/layout/list1"/>
    <dgm:cxn modelId="{A333ACD3-1FC6-4D3D-8A39-4F18D88B01E4}" srcId="{C43A6CFB-DA6C-4C48-955B-79487CADE7F7}" destId="{02FB2598-648C-457C-8F41-D8EBA6B22F3D}" srcOrd="0" destOrd="0" parTransId="{0A6F2EA8-096F-4AF7-AFA8-2A6298B8EEFE}" sibTransId="{9F20C385-A93D-4CE8-B131-FE2DEE2057B7}"/>
    <dgm:cxn modelId="{C0FE206B-9124-4F3F-A205-5571F29C57AA}" type="presOf" srcId="{8ED9F03D-5C81-45DB-970E-EC4443EBEA04}" destId="{C7378050-2A61-4D1C-8B35-74ED670CC8FA}" srcOrd="0" destOrd="0" presId="urn:microsoft.com/office/officeart/2005/8/layout/list1"/>
    <dgm:cxn modelId="{41A842A4-D7C2-4DE9-9E95-C6DB7F328A7D}" srcId="{8ED9F03D-5C81-45DB-970E-EC4443EBEA04}" destId="{0955700F-5D9F-48D1-8E4B-B0BB125AD29C}" srcOrd="0" destOrd="0" parTransId="{80CC5E34-6B28-4BE6-A46D-12B960C17E4C}" sibTransId="{0833EC0A-C2CB-4553-8756-452070EEB249}"/>
    <dgm:cxn modelId="{03F0CCF4-87EC-4A67-9B17-510F29A3BA38}" srcId="{FBE65A5C-ED01-462A-A52A-3993B357F278}" destId="{57E627D3-3077-4A82-9846-04F69746C58A}" srcOrd="1" destOrd="0" parTransId="{CB18CAA9-FA65-48F0-AD3F-2DA5477DA249}" sibTransId="{7E29D7A1-A929-4785-A42D-62A664D4EC4B}"/>
    <dgm:cxn modelId="{772D2621-7677-45D7-ABAD-428E34409A58}" srcId="{A99E46C3-35B3-4365-B74B-3A8F7DDC88E0}" destId="{8ED9F03D-5C81-45DB-970E-EC4443EBEA04}" srcOrd="2" destOrd="0" parTransId="{1E6AAE5C-B067-45AC-B614-80DFAF7BFC79}" sibTransId="{C0EED74C-3F6D-4523-9871-497C822693E4}"/>
    <dgm:cxn modelId="{1DA23C35-CA7B-470B-A42F-27468EE3F375}" srcId="{A99E46C3-35B3-4365-B74B-3A8F7DDC88E0}" destId="{C43A6CFB-DA6C-4C48-955B-79487CADE7F7}" srcOrd="3" destOrd="0" parTransId="{640F4303-D595-450A-8E95-B4C85B808BCB}" sibTransId="{1E333B4C-F12A-4EAF-B0FE-70B1E8E4E69C}"/>
    <dgm:cxn modelId="{F30F9ECC-6B68-4AB3-AFA8-06C8785258BA}" type="presOf" srcId="{FBE65A5C-ED01-462A-A52A-3993B357F278}" destId="{34D38180-F31C-4DE7-97ED-4CCA7EDF6B2F}" srcOrd="0" destOrd="0" presId="urn:microsoft.com/office/officeart/2005/8/layout/list1"/>
    <dgm:cxn modelId="{81B84B9A-7814-4414-AB2C-F9C4C2261458}" srcId="{7211B131-ED07-42FD-BB21-038184288CFF}" destId="{13957885-08E3-49A9-AFF3-7039186A1068}" srcOrd="1" destOrd="0" parTransId="{05EAD3CA-A346-4DD9-BB2F-B98C1BBC4705}" sibTransId="{FAB0B590-C498-43D4-8830-A52277C6A91F}"/>
    <dgm:cxn modelId="{A4F755CD-A19B-4FDA-B44B-9B21753F0297}" srcId="{A99E46C3-35B3-4365-B74B-3A8F7DDC88E0}" destId="{7211B131-ED07-42FD-BB21-038184288CFF}" srcOrd="0" destOrd="0" parTransId="{C9CFAC4E-EA99-48EB-8C1C-FBDD3A0C2913}" sibTransId="{BB4B2557-5E47-4E00-AEAF-3AF301B34AAE}"/>
    <dgm:cxn modelId="{A0446E2A-E60E-418A-B8B2-129E6DAA6698}" type="presOf" srcId="{879FE467-F522-4654-804A-2D94CA52A598}" destId="{8AF9A7BD-878F-4365-BC3C-32E0C76E47FD}" srcOrd="0" destOrd="0" presId="urn:microsoft.com/office/officeart/2005/8/layout/list1"/>
    <dgm:cxn modelId="{FD59909B-D780-4D6F-89D7-D09258FD4471}" type="presOf" srcId="{0955700F-5D9F-48D1-8E4B-B0BB125AD29C}" destId="{034F2A86-E329-476B-A9C5-A6FA9EEC81E4}" srcOrd="0" destOrd="0" presId="urn:microsoft.com/office/officeart/2005/8/layout/list1"/>
    <dgm:cxn modelId="{748E27FC-98DA-4AA0-A489-516DC2FE8DE1}" srcId="{7211B131-ED07-42FD-BB21-038184288CFF}" destId="{C07BEFF7-D018-472A-B60B-2E98C0F1BCAB}" srcOrd="2" destOrd="0" parTransId="{CB2DE79F-81DF-4D82-BB63-C6E99FC9B80D}" sibTransId="{EEF4FA83-B2F6-4C7A-9031-2D53DF73231A}"/>
    <dgm:cxn modelId="{57701183-3FE6-41C4-A48F-732F6B0D54F2}" type="presOf" srcId="{C43A6CFB-DA6C-4C48-955B-79487CADE7F7}" destId="{2A7EF0AA-87AB-4EB8-A877-2E304CD2913E}" srcOrd="0" destOrd="0" presId="urn:microsoft.com/office/officeart/2005/8/layout/list1"/>
    <dgm:cxn modelId="{A89F8377-8F52-4D39-8D28-F99AB827A9A1}" type="presOf" srcId="{7211B131-ED07-42FD-BB21-038184288CFF}" destId="{16D3DEE7-2535-47BE-B364-8215927704AE}" srcOrd="0" destOrd="0" presId="urn:microsoft.com/office/officeart/2005/8/layout/list1"/>
    <dgm:cxn modelId="{F85777BB-17DF-4A32-85A6-AFDDC72480CB}" srcId="{7211B131-ED07-42FD-BB21-038184288CFF}" destId="{A6926215-2633-4564-B39F-E08114679ADA}" srcOrd="0" destOrd="0" parTransId="{6C9DF8F4-9F79-4C57-B275-5239C507E21E}" sibTransId="{902F9B32-D073-4899-A0C8-BFDF0895E1A8}"/>
    <dgm:cxn modelId="{543F89C2-A257-40C1-8F49-50ECB5425865}" type="presOf" srcId="{FBE65A5C-ED01-462A-A52A-3993B357F278}" destId="{5C94E0A5-5048-43D3-BFF9-9C2EB3349FDA}" srcOrd="1" destOrd="0" presId="urn:microsoft.com/office/officeart/2005/8/layout/list1"/>
    <dgm:cxn modelId="{56B1E825-7B1B-4A40-B37F-D1330B9C3789}" type="presParOf" srcId="{41290E10-73E4-4D6A-BDA2-CF64B6543696}" destId="{1938DDEA-E8C9-45B6-BFB7-9AA4FC0F3368}" srcOrd="0" destOrd="0" presId="urn:microsoft.com/office/officeart/2005/8/layout/list1"/>
    <dgm:cxn modelId="{71754DF3-D453-4202-9566-38A84C24BEBA}" type="presParOf" srcId="{1938DDEA-E8C9-45B6-BFB7-9AA4FC0F3368}" destId="{16D3DEE7-2535-47BE-B364-8215927704AE}" srcOrd="0" destOrd="0" presId="urn:microsoft.com/office/officeart/2005/8/layout/list1"/>
    <dgm:cxn modelId="{53A60331-6E1A-4C11-B073-BC95A2825376}" type="presParOf" srcId="{1938DDEA-E8C9-45B6-BFB7-9AA4FC0F3368}" destId="{9347BFB2-DB28-475A-80CC-F506CD54F3F5}" srcOrd="1" destOrd="0" presId="urn:microsoft.com/office/officeart/2005/8/layout/list1"/>
    <dgm:cxn modelId="{254CEF38-AA8F-48E2-AC4F-1FB670C7CF1A}" type="presParOf" srcId="{41290E10-73E4-4D6A-BDA2-CF64B6543696}" destId="{44E6B81F-BB8B-4F7C-82D9-C3B29FC7239A}" srcOrd="1" destOrd="0" presId="urn:microsoft.com/office/officeart/2005/8/layout/list1"/>
    <dgm:cxn modelId="{7C65E8CA-C396-4464-A642-FAD9EF17614E}" type="presParOf" srcId="{41290E10-73E4-4D6A-BDA2-CF64B6543696}" destId="{342394C5-0AFD-4DC1-AB3B-FB40A8D91A15}" srcOrd="2" destOrd="0" presId="urn:microsoft.com/office/officeart/2005/8/layout/list1"/>
    <dgm:cxn modelId="{D56331B9-F1FE-4936-AD7B-BABF06034DDA}" type="presParOf" srcId="{41290E10-73E4-4D6A-BDA2-CF64B6543696}" destId="{F99D7488-7459-4988-9DC0-8C2DDFE2D2CA}" srcOrd="3" destOrd="0" presId="urn:microsoft.com/office/officeart/2005/8/layout/list1"/>
    <dgm:cxn modelId="{AD53ADC2-1C85-4B1B-B4C3-B7C98E64173B}" type="presParOf" srcId="{41290E10-73E4-4D6A-BDA2-CF64B6543696}" destId="{E9277A2A-AF9C-4C44-AD56-CE6E1626D8C9}" srcOrd="4" destOrd="0" presId="urn:microsoft.com/office/officeart/2005/8/layout/list1"/>
    <dgm:cxn modelId="{1027AB92-2DEC-4F9D-B9AE-F20AF230846C}" type="presParOf" srcId="{E9277A2A-AF9C-4C44-AD56-CE6E1626D8C9}" destId="{34D38180-F31C-4DE7-97ED-4CCA7EDF6B2F}" srcOrd="0" destOrd="0" presId="urn:microsoft.com/office/officeart/2005/8/layout/list1"/>
    <dgm:cxn modelId="{875A35EE-8925-4479-8E7F-EFCA055C04C4}" type="presParOf" srcId="{E9277A2A-AF9C-4C44-AD56-CE6E1626D8C9}" destId="{5C94E0A5-5048-43D3-BFF9-9C2EB3349FDA}" srcOrd="1" destOrd="0" presId="urn:microsoft.com/office/officeart/2005/8/layout/list1"/>
    <dgm:cxn modelId="{30888D83-0D16-4165-A815-31DEB4A9F138}" type="presParOf" srcId="{41290E10-73E4-4D6A-BDA2-CF64B6543696}" destId="{1D8BDD63-0B21-4CA8-BBDC-DB356D24DC6B}" srcOrd="5" destOrd="0" presId="urn:microsoft.com/office/officeart/2005/8/layout/list1"/>
    <dgm:cxn modelId="{F70FA19F-FC2D-43C0-8E3E-C4128D3CD1FA}" type="presParOf" srcId="{41290E10-73E4-4D6A-BDA2-CF64B6543696}" destId="{8AF9A7BD-878F-4365-BC3C-32E0C76E47FD}" srcOrd="6" destOrd="0" presId="urn:microsoft.com/office/officeart/2005/8/layout/list1"/>
    <dgm:cxn modelId="{2B8DB283-A700-4735-96DC-F8BF1719DA1A}" type="presParOf" srcId="{41290E10-73E4-4D6A-BDA2-CF64B6543696}" destId="{0D4FB045-9D5A-4672-A418-60F43B3F9965}" srcOrd="7" destOrd="0" presId="urn:microsoft.com/office/officeart/2005/8/layout/list1"/>
    <dgm:cxn modelId="{6C1AB46F-EC4B-4752-B0A0-AC1BF51B764E}" type="presParOf" srcId="{41290E10-73E4-4D6A-BDA2-CF64B6543696}" destId="{B9AD68DC-6262-4352-B322-36AABB90517A}" srcOrd="8" destOrd="0" presId="urn:microsoft.com/office/officeart/2005/8/layout/list1"/>
    <dgm:cxn modelId="{DA5E46D0-4015-4079-882D-528EFBBFE61D}" type="presParOf" srcId="{B9AD68DC-6262-4352-B322-36AABB90517A}" destId="{C7378050-2A61-4D1C-8B35-74ED670CC8FA}" srcOrd="0" destOrd="0" presId="urn:microsoft.com/office/officeart/2005/8/layout/list1"/>
    <dgm:cxn modelId="{54AC8D10-0502-4ED9-A2B8-33F0D84F48DB}" type="presParOf" srcId="{B9AD68DC-6262-4352-B322-36AABB90517A}" destId="{E5C0BAA8-AAFE-4AC3-9DBF-9D70A9686A2E}" srcOrd="1" destOrd="0" presId="urn:microsoft.com/office/officeart/2005/8/layout/list1"/>
    <dgm:cxn modelId="{CD8990A6-4359-488E-885A-E89BC88DC279}" type="presParOf" srcId="{41290E10-73E4-4D6A-BDA2-CF64B6543696}" destId="{1638ABF7-011F-4F66-BE53-2B5EAB1E0A92}" srcOrd="9" destOrd="0" presId="urn:microsoft.com/office/officeart/2005/8/layout/list1"/>
    <dgm:cxn modelId="{0A00A870-5D74-495B-A8F8-99AADE2E311B}" type="presParOf" srcId="{41290E10-73E4-4D6A-BDA2-CF64B6543696}" destId="{034F2A86-E329-476B-A9C5-A6FA9EEC81E4}" srcOrd="10" destOrd="0" presId="urn:microsoft.com/office/officeart/2005/8/layout/list1"/>
    <dgm:cxn modelId="{FB5C1DC9-0198-42B6-9C1F-4A2D3BE86D57}" type="presParOf" srcId="{41290E10-73E4-4D6A-BDA2-CF64B6543696}" destId="{4A8D9B6F-F169-4116-9602-22C14154F837}" srcOrd="11" destOrd="0" presId="urn:microsoft.com/office/officeart/2005/8/layout/list1"/>
    <dgm:cxn modelId="{60AF4D89-D3B3-498E-AF4F-44B60268E1D0}" type="presParOf" srcId="{41290E10-73E4-4D6A-BDA2-CF64B6543696}" destId="{7BB003E0-4E2B-462D-A3AF-1741C22C1479}" srcOrd="12" destOrd="0" presId="urn:microsoft.com/office/officeart/2005/8/layout/list1"/>
    <dgm:cxn modelId="{CD052262-B9B6-4493-928C-3B78EC7AEEFA}" type="presParOf" srcId="{7BB003E0-4E2B-462D-A3AF-1741C22C1479}" destId="{2A7EF0AA-87AB-4EB8-A877-2E304CD2913E}" srcOrd="0" destOrd="0" presId="urn:microsoft.com/office/officeart/2005/8/layout/list1"/>
    <dgm:cxn modelId="{98A27B8B-0AEB-466A-87E7-475E389695BC}" type="presParOf" srcId="{7BB003E0-4E2B-462D-A3AF-1741C22C1479}" destId="{30585B62-2AA4-4FF7-A73E-F050DB15F43D}" srcOrd="1" destOrd="0" presId="urn:microsoft.com/office/officeart/2005/8/layout/list1"/>
    <dgm:cxn modelId="{B1491643-AB07-4A1B-8561-AC75E08D859A}" type="presParOf" srcId="{41290E10-73E4-4D6A-BDA2-CF64B6543696}" destId="{88185554-0E52-4AC9-9270-428FD37BE295}" srcOrd="13" destOrd="0" presId="urn:microsoft.com/office/officeart/2005/8/layout/list1"/>
    <dgm:cxn modelId="{579F6FE0-98F4-4B06-8E18-556C5F10E17E}" type="presParOf" srcId="{41290E10-73E4-4D6A-BDA2-CF64B6543696}" destId="{E481EFDC-E508-47D2-A7AF-DACCF3E1C511}" srcOrd="1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8B71412-2233-44AC-A23E-B66DFE4C896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053779D-5677-4B73-B004-09376A9DD48B}">
      <dgm:prSet phldrT="[Text]" custT="1"/>
      <dgm:spPr/>
      <dgm:t>
        <a:bodyPr/>
        <a:lstStyle/>
        <a:p>
          <a:r>
            <a:rPr lang="en-US" sz="2000" dirty="0" smtClean="0"/>
            <a:t>Upsert will update the field for an already existing document  or  it would insert the document if it does not exist:</a:t>
          </a:r>
          <a:endParaRPr lang="en-US" sz="2000" dirty="0"/>
        </a:p>
      </dgm:t>
    </dgm:pt>
    <dgm:pt modelId="{E83D18FC-3A36-4A82-A0DD-4038FD4C40CA}" type="parTrans" cxnId="{31E84CCD-801E-4130-ABD6-17F082B3F5F3}">
      <dgm:prSet/>
      <dgm:spPr/>
      <dgm:t>
        <a:bodyPr/>
        <a:lstStyle/>
        <a:p>
          <a:endParaRPr lang="en-US" sz="2000"/>
        </a:p>
      </dgm:t>
    </dgm:pt>
    <dgm:pt modelId="{7039205F-663B-42A1-BE60-55E19C9DA223}" type="sibTrans" cxnId="{31E84CCD-801E-4130-ABD6-17F082B3F5F3}">
      <dgm:prSet/>
      <dgm:spPr/>
      <dgm:t>
        <a:bodyPr/>
        <a:lstStyle/>
        <a:p>
          <a:endParaRPr lang="en-US" sz="2000"/>
        </a:p>
      </dgm:t>
    </dgm:pt>
    <dgm:pt modelId="{011BB1FA-BDE6-4D71-84AC-D86A81575FF4}">
      <dgm:prSet phldrT="[Text]" custT="1"/>
      <dgm:spPr/>
      <dgm:t>
        <a:bodyPr/>
        <a:lstStyle/>
        <a:p>
          <a:r>
            <a:rPr lang="en-US" sz="2000" dirty="0" smtClean="0"/>
            <a:t>db.employees.update({firstname : “Maxwell" },{$set : { age : 30 }},{upsert : true} )</a:t>
          </a:r>
          <a:endParaRPr lang="en-US" sz="2000" dirty="0"/>
        </a:p>
      </dgm:t>
    </dgm:pt>
    <dgm:pt modelId="{AE04532C-E6F6-4A73-86F0-E95303E3DFB1}" type="parTrans" cxnId="{FAF57CC1-C3AE-4B3E-9778-87A99B55B381}">
      <dgm:prSet/>
      <dgm:spPr/>
      <dgm:t>
        <a:bodyPr/>
        <a:lstStyle/>
        <a:p>
          <a:endParaRPr lang="en-US" sz="2000"/>
        </a:p>
      </dgm:t>
    </dgm:pt>
    <dgm:pt modelId="{D12A2954-4532-405F-B4F7-8F7F8757046F}" type="sibTrans" cxnId="{FAF57CC1-C3AE-4B3E-9778-87A99B55B381}">
      <dgm:prSet/>
      <dgm:spPr/>
      <dgm:t>
        <a:bodyPr/>
        <a:lstStyle/>
        <a:p>
          <a:endParaRPr lang="en-US" sz="2000"/>
        </a:p>
      </dgm:t>
    </dgm:pt>
    <dgm:pt modelId="{BCF70F35-B837-489C-AE7B-E520B649E70B}" type="pres">
      <dgm:prSet presAssocID="{58B71412-2233-44AC-A23E-B66DFE4C896D}" presName="linear" presStyleCnt="0">
        <dgm:presLayoutVars>
          <dgm:animLvl val="lvl"/>
          <dgm:resizeHandles val="exact"/>
        </dgm:presLayoutVars>
      </dgm:prSet>
      <dgm:spPr/>
      <dgm:t>
        <a:bodyPr/>
        <a:lstStyle/>
        <a:p>
          <a:endParaRPr lang="en-US"/>
        </a:p>
      </dgm:t>
    </dgm:pt>
    <dgm:pt modelId="{97AF1EC7-90E4-4B16-A044-BC5A1A0E0674}" type="pres">
      <dgm:prSet presAssocID="{5053779D-5677-4B73-B004-09376A9DD48B}" presName="parentText" presStyleLbl="node1" presStyleIdx="0" presStyleCnt="1">
        <dgm:presLayoutVars>
          <dgm:chMax val="0"/>
          <dgm:bulletEnabled val="1"/>
        </dgm:presLayoutVars>
      </dgm:prSet>
      <dgm:spPr/>
      <dgm:t>
        <a:bodyPr/>
        <a:lstStyle/>
        <a:p>
          <a:endParaRPr lang="en-US"/>
        </a:p>
      </dgm:t>
    </dgm:pt>
    <dgm:pt modelId="{36111777-27A1-4F0E-9F95-6F582BA3AE56}" type="pres">
      <dgm:prSet presAssocID="{5053779D-5677-4B73-B004-09376A9DD48B}" presName="childText" presStyleLbl="revTx" presStyleIdx="0" presStyleCnt="1" custLinFactNeighborY="2592">
        <dgm:presLayoutVars>
          <dgm:bulletEnabled val="1"/>
        </dgm:presLayoutVars>
      </dgm:prSet>
      <dgm:spPr/>
      <dgm:t>
        <a:bodyPr/>
        <a:lstStyle/>
        <a:p>
          <a:endParaRPr lang="en-US"/>
        </a:p>
      </dgm:t>
    </dgm:pt>
  </dgm:ptLst>
  <dgm:cxnLst>
    <dgm:cxn modelId="{31E84CCD-801E-4130-ABD6-17F082B3F5F3}" srcId="{58B71412-2233-44AC-A23E-B66DFE4C896D}" destId="{5053779D-5677-4B73-B004-09376A9DD48B}" srcOrd="0" destOrd="0" parTransId="{E83D18FC-3A36-4A82-A0DD-4038FD4C40CA}" sibTransId="{7039205F-663B-42A1-BE60-55E19C9DA223}"/>
    <dgm:cxn modelId="{9CEA46D1-94AB-46ED-9DC9-7A1A579DD503}" type="presOf" srcId="{5053779D-5677-4B73-B004-09376A9DD48B}" destId="{97AF1EC7-90E4-4B16-A044-BC5A1A0E0674}" srcOrd="0" destOrd="0" presId="urn:microsoft.com/office/officeart/2005/8/layout/vList2"/>
    <dgm:cxn modelId="{FAF57CC1-C3AE-4B3E-9778-87A99B55B381}" srcId="{5053779D-5677-4B73-B004-09376A9DD48B}" destId="{011BB1FA-BDE6-4D71-84AC-D86A81575FF4}" srcOrd="0" destOrd="0" parTransId="{AE04532C-E6F6-4A73-86F0-E95303E3DFB1}" sibTransId="{D12A2954-4532-405F-B4F7-8F7F8757046F}"/>
    <dgm:cxn modelId="{6749E8A4-FB54-40B4-8B48-3E921A125342}" type="presOf" srcId="{58B71412-2233-44AC-A23E-B66DFE4C896D}" destId="{BCF70F35-B837-489C-AE7B-E520B649E70B}" srcOrd="0" destOrd="0" presId="urn:microsoft.com/office/officeart/2005/8/layout/vList2"/>
    <dgm:cxn modelId="{82AE09FE-E436-4FF3-B51E-A064E32C2B97}" type="presOf" srcId="{011BB1FA-BDE6-4D71-84AC-D86A81575FF4}" destId="{36111777-27A1-4F0E-9F95-6F582BA3AE56}" srcOrd="0" destOrd="0" presId="urn:microsoft.com/office/officeart/2005/8/layout/vList2"/>
    <dgm:cxn modelId="{DCCC3CFD-F1D7-4F5C-948F-FA618C2F6CA0}" type="presParOf" srcId="{BCF70F35-B837-489C-AE7B-E520B649E70B}" destId="{97AF1EC7-90E4-4B16-A044-BC5A1A0E0674}" srcOrd="0" destOrd="0" presId="urn:microsoft.com/office/officeart/2005/8/layout/vList2"/>
    <dgm:cxn modelId="{F8873C02-441A-44B9-AE3C-83B74DDCBBA0}" type="presParOf" srcId="{BCF70F35-B837-489C-AE7B-E520B649E70B}" destId="{36111777-27A1-4F0E-9F95-6F582BA3AE56}"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Not Equal Modifier($ne):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C0E47DAD-A0C2-459B-A34B-D7B352CBD061}">
      <dgm:prSet custT="1"/>
      <dgm:spPr/>
      <dgm:t>
        <a:bodyPr/>
        <a:lstStyle/>
        <a:p>
          <a:r>
            <a:rPr lang="en-US" sz="2000" dirty="0" smtClean="0">
              <a:solidFill>
                <a:srgbClr val="000000"/>
              </a:solidFill>
            </a:rPr>
            <a:t>db.employees.find({age : {$ne : 55}});</a:t>
          </a:r>
        </a:p>
      </dgm:t>
    </dgm:pt>
    <dgm:pt modelId="{C5446296-5B2C-4055-9B32-A7592F612450}" type="parTrans" cxnId="{D4EB4B91-CB78-4304-B4F9-419A89E4605B}">
      <dgm:prSet/>
      <dgm:spPr/>
      <dgm:t>
        <a:bodyPr/>
        <a:lstStyle/>
        <a:p>
          <a:endParaRPr lang="en-US" sz="2000">
            <a:solidFill>
              <a:srgbClr val="000000"/>
            </a:solidFill>
          </a:endParaRPr>
        </a:p>
      </dgm:t>
    </dgm:pt>
    <dgm:pt modelId="{3869D199-4406-40F1-8658-7E031EC00BBE}" type="sibTrans" cxnId="{D4EB4B91-CB78-4304-B4F9-419A89E4605B}">
      <dgm:prSet/>
      <dgm:spPr/>
      <dgm:t>
        <a:bodyPr/>
        <a:lstStyle/>
        <a:p>
          <a:endParaRPr lang="en-US" sz="2000">
            <a:solidFill>
              <a:srgbClr val="000000"/>
            </a:solidFill>
          </a:endParaRPr>
        </a:p>
      </dgm:t>
    </dgm:pt>
    <dgm:pt modelId="{D33FC7BC-6D60-4B7F-BE2B-3E76873DC001}">
      <dgm:prSet custT="1"/>
      <dgm:spPr/>
      <dgm:t>
        <a:bodyPr/>
        <a:lstStyle/>
        <a:p>
          <a:r>
            <a:rPr lang="en-US" sz="2000" dirty="0" smtClean="0">
              <a:solidFill>
                <a:srgbClr val="000000"/>
              </a:solidFill>
            </a:rPr>
            <a:t>2. Greater/Less than Modifier($gt, $lt, $gte, $lte):</a:t>
          </a:r>
          <a:endParaRPr lang="en-US" sz="2000" dirty="0">
            <a:solidFill>
              <a:srgbClr val="000000"/>
            </a:solidFill>
          </a:endParaRPr>
        </a:p>
      </dgm:t>
    </dgm:pt>
    <dgm:pt modelId="{7AEEA396-34D2-4564-9E7B-4E1FE2BB9A7B}" type="parTrans" cxnId="{5C215AF2-D8AC-4353-8C21-AF0BFB1B82D6}">
      <dgm:prSet/>
      <dgm:spPr/>
      <dgm:t>
        <a:bodyPr/>
        <a:lstStyle/>
        <a:p>
          <a:endParaRPr lang="en-US" sz="2000">
            <a:solidFill>
              <a:srgbClr val="000000"/>
            </a:solidFill>
          </a:endParaRPr>
        </a:p>
      </dgm:t>
    </dgm:pt>
    <dgm:pt modelId="{72F365D1-C62A-4E7D-BD1F-61C25888AA8F}" type="sibTrans" cxnId="{5C215AF2-D8AC-4353-8C21-AF0BFB1B82D6}">
      <dgm:prSet/>
      <dgm:spPr/>
      <dgm:t>
        <a:bodyPr/>
        <a:lstStyle/>
        <a:p>
          <a:endParaRPr lang="en-US" sz="2000">
            <a:solidFill>
              <a:srgbClr val="000000"/>
            </a:solidFill>
          </a:endParaRPr>
        </a:p>
      </dgm:t>
    </dgm:pt>
    <dgm:pt modelId="{9D93B7B8-30CD-4D79-AB7D-C1CFB58DF2AF}">
      <dgm:prSet custT="1"/>
      <dgm:spPr/>
      <dgm:t>
        <a:bodyPr/>
        <a:lstStyle/>
        <a:p>
          <a:r>
            <a:rPr lang="en-US" sz="2000" dirty="0" smtClean="0">
              <a:solidFill>
                <a:srgbClr val="000000"/>
              </a:solidFill>
            </a:rPr>
            <a:t>db.employees.find({age : {$gt : 55}}); </a:t>
          </a:r>
          <a:endParaRPr lang="en-US" sz="2000" dirty="0">
            <a:solidFill>
              <a:srgbClr val="000000"/>
            </a:solidFill>
          </a:endParaRPr>
        </a:p>
      </dgm:t>
    </dgm:pt>
    <dgm:pt modelId="{ED62CD76-9436-44F3-8B70-BE2A880A3C1A}" type="parTrans" cxnId="{331FBE83-389C-40B8-8E4C-66ED14A8F8A3}">
      <dgm:prSet/>
      <dgm:spPr/>
      <dgm:t>
        <a:bodyPr/>
        <a:lstStyle/>
        <a:p>
          <a:endParaRPr lang="en-US" sz="2000">
            <a:solidFill>
              <a:srgbClr val="000000"/>
            </a:solidFill>
          </a:endParaRPr>
        </a:p>
      </dgm:t>
    </dgm:pt>
    <dgm:pt modelId="{45B7B017-AF6F-4479-8D41-14B3E62C983B}" type="sibTrans" cxnId="{331FBE83-389C-40B8-8E4C-66ED14A8F8A3}">
      <dgm:prSet/>
      <dgm:spPr/>
      <dgm:t>
        <a:bodyPr/>
        <a:lstStyle/>
        <a:p>
          <a:endParaRPr lang="en-US" sz="2000">
            <a:solidFill>
              <a:srgbClr val="000000"/>
            </a:solidFill>
          </a:endParaRPr>
        </a:p>
      </dgm:t>
    </dgm:pt>
    <dgm:pt modelId="{A6596FF3-92F4-4190-A590-DFCEE7CCEF70}">
      <dgm:prSet custT="1"/>
      <dgm:spPr/>
      <dgm:t>
        <a:bodyPr/>
        <a:lstStyle/>
        <a:p>
          <a:r>
            <a:rPr lang="en-US" sz="2000" dirty="0" smtClean="0">
              <a:solidFill>
                <a:srgbClr val="000000"/>
              </a:solidFill>
            </a:rPr>
            <a:t>db.employees.find({age : {$lt : 55}}); </a:t>
          </a:r>
          <a:endParaRPr lang="en-US" sz="2000" dirty="0">
            <a:solidFill>
              <a:srgbClr val="000000"/>
            </a:solidFill>
          </a:endParaRPr>
        </a:p>
      </dgm:t>
    </dgm:pt>
    <dgm:pt modelId="{011D0B3B-CBA1-4560-9B29-BF7281AEAD09}" type="parTrans" cxnId="{A4ED810C-70E4-4CF3-8E5C-FF8D70543B4C}">
      <dgm:prSet/>
      <dgm:spPr/>
      <dgm:t>
        <a:bodyPr/>
        <a:lstStyle/>
        <a:p>
          <a:endParaRPr lang="en-US" sz="2000">
            <a:solidFill>
              <a:srgbClr val="000000"/>
            </a:solidFill>
          </a:endParaRPr>
        </a:p>
      </dgm:t>
    </dgm:pt>
    <dgm:pt modelId="{0C50C712-C015-430A-B52C-C9B66CE61A31}" type="sibTrans" cxnId="{A4ED810C-70E4-4CF3-8E5C-FF8D70543B4C}">
      <dgm:prSet/>
      <dgm:spPr/>
      <dgm:t>
        <a:bodyPr/>
        <a:lstStyle/>
        <a:p>
          <a:endParaRPr lang="en-US" sz="2000">
            <a:solidFill>
              <a:srgbClr val="000000"/>
            </a:solidFill>
          </a:endParaRPr>
        </a:p>
      </dgm:t>
    </dgm:pt>
    <dgm:pt modelId="{B23B223C-7310-47C4-AA90-926C16947028}">
      <dgm:prSet custT="1"/>
      <dgm:spPr/>
      <dgm:t>
        <a:bodyPr/>
        <a:lstStyle/>
        <a:p>
          <a:r>
            <a:rPr lang="en-US" sz="2000" dirty="0" smtClean="0">
              <a:solidFill>
                <a:srgbClr val="000000"/>
              </a:solidFill>
            </a:rPr>
            <a:t>db.employees.find({age : {$gte : 55}}); </a:t>
          </a:r>
          <a:endParaRPr lang="en-US" sz="2000" dirty="0">
            <a:solidFill>
              <a:srgbClr val="000000"/>
            </a:solidFill>
          </a:endParaRPr>
        </a:p>
      </dgm:t>
    </dgm:pt>
    <dgm:pt modelId="{30636120-32C9-48A1-80C1-F7AFA5B1487C}" type="parTrans" cxnId="{1B1532F0-C757-4323-BBBB-32131910E1A9}">
      <dgm:prSet/>
      <dgm:spPr/>
      <dgm:t>
        <a:bodyPr/>
        <a:lstStyle/>
        <a:p>
          <a:endParaRPr lang="en-US" sz="2000">
            <a:solidFill>
              <a:srgbClr val="000000"/>
            </a:solidFill>
          </a:endParaRPr>
        </a:p>
      </dgm:t>
    </dgm:pt>
    <dgm:pt modelId="{821FBC3F-8CED-467E-9CF6-0830127ED153}" type="sibTrans" cxnId="{1B1532F0-C757-4323-BBBB-32131910E1A9}">
      <dgm:prSet/>
      <dgm:spPr/>
      <dgm:t>
        <a:bodyPr/>
        <a:lstStyle/>
        <a:p>
          <a:endParaRPr lang="en-US" sz="2000">
            <a:solidFill>
              <a:srgbClr val="000000"/>
            </a:solidFill>
          </a:endParaRPr>
        </a:p>
      </dgm:t>
    </dgm:pt>
    <dgm:pt modelId="{D02174CB-29DE-43BA-A153-AAEA503B0B56}">
      <dgm:prSet custT="1"/>
      <dgm:spPr/>
      <dgm:t>
        <a:bodyPr/>
        <a:lstStyle/>
        <a:p>
          <a:r>
            <a:rPr lang="en-US" sz="2000" dirty="0" smtClean="0">
              <a:solidFill>
                <a:srgbClr val="000000"/>
              </a:solidFill>
            </a:rPr>
            <a:t>db.employees.find({age : {$lte : 55}});</a:t>
          </a:r>
          <a:endParaRPr lang="en-US" sz="2000" dirty="0">
            <a:solidFill>
              <a:srgbClr val="000000"/>
            </a:solidFill>
          </a:endParaRPr>
        </a:p>
      </dgm:t>
    </dgm:pt>
    <dgm:pt modelId="{138C16BA-F0D9-4BD6-9BFE-BAA1E83280B5}" type="parTrans" cxnId="{5EFD213F-7E51-4148-8ED9-6F2912BCA5E6}">
      <dgm:prSet/>
      <dgm:spPr/>
      <dgm:t>
        <a:bodyPr/>
        <a:lstStyle/>
        <a:p>
          <a:endParaRPr lang="en-US" sz="2000">
            <a:solidFill>
              <a:srgbClr val="000000"/>
            </a:solidFill>
          </a:endParaRPr>
        </a:p>
      </dgm:t>
    </dgm:pt>
    <dgm:pt modelId="{0EB37E04-B4B7-419C-9BC5-F53F30B862D2}" type="sibTrans" cxnId="{5EFD213F-7E51-4148-8ED9-6F2912BCA5E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C706326E-77B6-4ED4-A726-38A3ADE57610}" type="pres">
      <dgm:prSet presAssocID="{D33FC7BC-6D60-4B7F-BE2B-3E76873DC001}" presName="parentText" presStyleLbl="node1" presStyleIdx="1" presStyleCnt="2">
        <dgm:presLayoutVars>
          <dgm:chMax val="0"/>
          <dgm:bulletEnabled val="1"/>
        </dgm:presLayoutVars>
      </dgm:prSet>
      <dgm:spPr/>
      <dgm:t>
        <a:bodyPr/>
        <a:lstStyle/>
        <a:p>
          <a:endParaRPr lang="en-US"/>
        </a:p>
      </dgm:t>
    </dgm:pt>
    <dgm:pt modelId="{F5B38B09-79B3-49DF-BEEB-2C05565E04C1}" type="pres">
      <dgm:prSet presAssocID="{D33FC7BC-6D60-4B7F-BE2B-3E76873DC001}" presName="childText" presStyleLbl="revTx" presStyleIdx="1" presStyleCnt="2">
        <dgm:presLayoutVars>
          <dgm:bulletEnabled val="1"/>
        </dgm:presLayoutVars>
      </dgm:prSet>
      <dgm:spPr/>
      <dgm:t>
        <a:bodyPr/>
        <a:lstStyle/>
        <a:p>
          <a:endParaRPr lang="en-US"/>
        </a:p>
      </dgm:t>
    </dgm:pt>
  </dgm:ptLst>
  <dgm:cxnLst>
    <dgm:cxn modelId="{3DEBA25B-4FEA-40B7-A3BC-548B3B8DF1F3}" type="presOf" srcId="{C0E47DAD-A0C2-459B-A34B-D7B352CBD061}" destId="{D35D2B51-CDB9-456F-AB69-03B1DA780EB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1B1532F0-C757-4323-BBBB-32131910E1A9}" srcId="{D33FC7BC-6D60-4B7F-BE2B-3E76873DC001}" destId="{B23B223C-7310-47C4-AA90-926C16947028}" srcOrd="2" destOrd="0" parTransId="{30636120-32C9-48A1-80C1-F7AFA5B1487C}" sibTransId="{821FBC3F-8CED-467E-9CF6-0830127ED153}"/>
    <dgm:cxn modelId="{64D2E1F9-BD0A-4180-99E3-40DEF35B4999}" type="presOf" srcId="{9D93B7B8-30CD-4D79-AB7D-C1CFB58DF2AF}" destId="{F5B38B09-79B3-49DF-BEEB-2C05565E04C1}" srcOrd="0" destOrd="0" presId="urn:microsoft.com/office/officeart/2005/8/layout/vList2"/>
    <dgm:cxn modelId="{35995EE3-B036-4342-ADD1-A88375785A51}" type="presOf" srcId="{D02174CB-29DE-43BA-A153-AAEA503B0B56}" destId="{F5B38B09-79B3-49DF-BEEB-2C05565E04C1}" srcOrd="0" destOrd="3" presId="urn:microsoft.com/office/officeart/2005/8/layout/vList2"/>
    <dgm:cxn modelId="{D4EB4B91-CB78-4304-B4F9-419A89E4605B}" srcId="{01B48101-CFA8-4641-83C7-B22F9ABEB30B}" destId="{C0E47DAD-A0C2-459B-A34B-D7B352CBD061}" srcOrd="0" destOrd="0" parTransId="{C5446296-5B2C-4055-9B32-A7592F612450}" sibTransId="{3869D199-4406-40F1-8658-7E031EC00BBE}"/>
    <dgm:cxn modelId="{40DFB527-0720-4D29-BD51-85EEA6F893CF}" type="presOf" srcId="{29B1402D-A153-4C5A-BE98-8D9F1780C5D8}" destId="{EA2E1B46-256E-4363-AF1A-0C8557BCBA36}" srcOrd="0" destOrd="0" presId="urn:microsoft.com/office/officeart/2005/8/layout/vList2"/>
    <dgm:cxn modelId="{5C215AF2-D8AC-4353-8C21-AF0BFB1B82D6}" srcId="{29B1402D-A153-4C5A-BE98-8D9F1780C5D8}" destId="{D33FC7BC-6D60-4B7F-BE2B-3E76873DC001}" srcOrd="1" destOrd="0" parTransId="{7AEEA396-34D2-4564-9E7B-4E1FE2BB9A7B}" sibTransId="{72F365D1-C62A-4E7D-BD1F-61C25888AA8F}"/>
    <dgm:cxn modelId="{B079FD4D-A136-44C6-9C61-E16755FB3B1E}" type="presOf" srcId="{D33FC7BC-6D60-4B7F-BE2B-3E76873DC001}" destId="{C706326E-77B6-4ED4-A726-38A3ADE57610}" srcOrd="0" destOrd="0" presId="urn:microsoft.com/office/officeart/2005/8/layout/vList2"/>
    <dgm:cxn modelId="{331FBE83-389C-40B8-8E4C-66ED14A8F8A3}" srcId="{D33FC7BC-6D60-4B7F-BE2B-3E76873DC001}" destId="{9D93B7B8-30CD-4D79-AB7D-C1CFB58DF2AF}" srcOrd="0" destOrd="0" parTransId="{ED62CD76-9436-44F3-8B70-BE2A880A3C1A}" sibTransId="{45B7B017-AF6F-4479-8D41-14B3E62C983B}"/>
    <dgm:cxn modelId="{262D500A-6850-4704-9F8F-EAC6FD067A5A}" type="presOf" srcId="{A6596FF3-92F4-4190-A590-DFCEE7CCEF70}" destId="{F5B38B09-79B3-49DF-BEEB-2C05565E04C1}" srcOrd="0" destOrd="1" presId="urn:microsoft.com/office/officeart/2005/8/layout/vList2"/>
    <dgm:cxn modelId="{A4ED810C-70E4-4CF3-8E5C-FF8D70543B4C}" srcId="{D33FC7BC-6D60-4B7F-BE2B-3E76873DC001}" destId="{A6596FF3-92F4-4190-A590-DFCEE7CCEF70}" srcOrd="1" destOrd="0" parTransId="{011D0B3B-CBA1-4560-9B29-BF7281AEAD09}" sibTransId="{0C50C712-C015-430A-B52C-C9B66CE61A31}"/>
    <dgm:cxn modelId="{0FE83FAC-03AE-4C52-ADE6-139842002D3B}" type="presOf" srcId="{01B48101-CFA8-4641-83C7-B22F9ABEB30B}" destId="{A77B38D6-8EF8-4F56-B969-6807478B1038}" srcOrd="0" destOrd="0" presId="urn:microsoft.com/office/officeart/2005/8/layout/vList2"/>
    <dgm:cxn modelId="{1408A13A-9CC4-4F37-A942-F844D8028CE9}" type="presOf" srcId="{B23B223C-7310-47C4-AA90-926C16947028}" destId="{F5B38B09-79B3-49DF-BEEB-2C05565E04C1}" srcOrd="0" destOrd="2" presId="urn:microsoft.com/office/officeart/2005/8/layout/vList2"/>
    <dgm:cxn modelId="{5EFD213F-7E51-4148-8ED9-6F2912BCA5E6}" srcId="{D33FC7BC-6D60-4B7F-BE2B-3E76873DC001}" destId="{D02174CB-29DE-43BA-A153-AAEA503B0B56}" srcOrd="3" destOrd="0" parTransId="{138C16BA-F0D9-4BD6-9BFE-BAA1E83280B5}" sibTransId="{0EB37E04-B4B7-419C-9BC5-F53F30B862D2}"/>
    <dgm:cxn modelId="{798AD57C-969F-4E3D-9FE5-AA11B12F7CC0}" type="presParOf" srcId="{EA2E1B46-256E-4363-AF1A-0C8557BCBA36}" destId="{A77B38D6-8EF8-4F56-B969-6807478B1038}" srcOrd="0" destOrd="0" presId="urn:microsoft.com/office/officeart/2005/8/layout/vList2"/>
    <dgm:cxn modelId="{7C568673-CF09-49F0-99DF-4E40B4CE2BAE}" type="presParOf" srcId="{EA2E1B46-256E-4363-AF1A-0C8557BCBA36}" destId="{D35D2B51-CDB9-456F-AB69-03B1DA780EB7}" srcOrd="1" destOrd="0" presId="urn:microsoft.com/office/officeart/2005/8/layout/vList2"/>
    <dgm:cxn modelId="{EBCF6A6F-EF03-4FC9-9123-E53CF0994578}" type="presParOf" srcId="{EA2E1B46-256E-4363-AF1A-0C8557BCBA36}" destId="{C706326E-77B6-4ED4-A726-38A3ADE57610}" srcOrd="2" destOrd="0" presId="urn:microsoft.com/office/officeart/2005/8/layout/vList2"/>
    <dgm:cxn modelId="{6EB8BB62-05BF-4826-B5AD-F36DFC12EA5E}" type="presParOf" srcId="{EA2E1B46-256E-4363-AF1A-0C8557BCBA36}" destId="{F5B38B09-79B3-49DF-BEEB-2C05565E04C1}"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3. Increment Modifier($inc):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C049D14-3836-4BAD-B48F-FD29C3DB5266}">
      <dgm:prSet phldrT="[Text]" custT="1"/>
      <dgm:spPr/>
      <dgm:t>
        <a:bodyPr/>
        <a:lstStyle/>
        <a:p>
          <a:r>
            <a:rPr lang="en-US" sz="2000" dirty="0" smtClean="0">
              <a:solidFill>
                <a:srgbClr val="000000"/>
              </a:solidFill>
            </a:rPr>
            <a:t>NOTE: Key-value will be created if the key doesnt exists yet in the case of both $set and $inc. $inc works for integers only. $set works for all. $inc Incrementing is extremely fast, so any performance penalty is negligible. </a:t>
          </a:r>
          <a:endParaRPr lang="en-US" sz="2000" dirty="0">
            <a:solidFill>
              <a:srgbClr val="000000"/>
            </a:solidFill>
          </a:endParaRPr>
        </a:p>
      </dgm:t>
    </dgm:pt>
    <dgm:pt modelId="{B5A04DB8-AB61-438C-8F11-9CBBA26ABC58}" type="parTrans" cxnId="{432BCE30-7985-49D8-B0D9-51FFE3825DC4}">
      <dgm:prSet/>
      <dgm:spPr/>
      <dgm:t>
        <a:bodyPr/>
        <a:lstStyle/>
        <a:p>
          <a:endParaRPr lang="en-US" sz="2000">
            <a:solidFill>
              <a:srgbClr val="000000"/>
            </a:solidFill>
          </a:endParaRPr>
        </a:p>
      </dgm:t>
    </dgm:pt>
    <dgm:pt modelId="{4E976FEB-48A0-4417-9CFB-037D006C70EA}" type="sibTrans" cxnId="{432BCE30-7985-49D8-B0D9-51FFE3825DC4}">
      <dgm:prSet/>
      <dgm:spPr/>
      <dgm:t>
        <a:bodyPr/>
        <a:lstStyle/>
        <a:p>
          <a:endParaRPr lang="en-US" sz="2000">
            <a:solidFill>
              <a:srgbClr val="000000"/>
            </a:solidFill>
          </a:endParaRPr>
        </a:p>
      </dgm:t>
    </dgm:pt>
    <dgm:pt modelId="{CB7AA91B-7F70-4BAF-81C8-F2604441AF5F}">
      <dgm:prSet custT="1"/>
      <dgm:spPr/>
      <dgm:t>
        <a:bodyPr/>
        <a:lstStyle/>
        <a:p>
          <a:r>
            <a:rPr lang="en-US" sz="2000" dirty="0" smtClean="0">
              <a:solidFill>
                <a:srgbClr val="000000"/>
              </a:solidFill>
            </a:rPr>
            <a:t>db.employees.update({firstname:"anjulata"},{$inc:{salary:500}})</a:t>
          </a:r>
        </a:p>
      </dgm:t>
    </dgm:pt>
    <dgm:pt modelId="{B0B12304-B597-4B7B-9F34-E21FAEA4C37B}" type="parTrans" cxnId="{6D96432E-2FD7-4BB0-9CA6-95BFE80D8CA6}">
      <dgm:prSet/>
      <dgm:spPr/>
      <dgm:t>
        <a:bodyPr/>
        <a:lstStyle/>
        <a:p>
          <a:endParaRPr lang="en-US" sz="2000">
            <a:solidFill>
              <a:srgbClr val="000000"/>
            </a:solidFill>
          </a:endParaRPr>
        </a:p>
      </dgm:t>
    </dgm:pt>
    <dgm:pt modelId="{DF50C085-115A-4F90-BF4F-CD90C66696A0}" type="sibTrans" cxnId="{6D96432E-2FD7-4BB0-9CA6-95BFE80D8CA6}">
      <dgm:prSet/>
      <dgm:spPr/>
      <dgm:t>
        <a:bodyPr/>
        <a:lstStyle/>
        <a:p>
          <a:endParaRPr lang="en-US" sz="2000">
            <a:solidFill>
              <a:srgbClr val="000000"/>
            </a:solidFill>
          </a:endParaRPr>
        </a:p>
      </dgm:t>
    </dgm:pt>
    <dgm:pt modelId="{D33F78FD-08F1-437C-966C-1EEF03AA1D75}">
      <dgm:prSet custT="1"/>
      <dgm:spPr/>
      <dgm:t>
        <a:bodyPr/>
        <a:lstStyle/>
        <a:p>
          <a:r>
            <a:rPr lang="en-US" sz="2000" dirty="0" smtClean="0">
              <a:solidFill>
                <a:srgbClr val="000000"/>
              </a:solidFill>
            </a:rPr>
            <a:t>4.Set Modifier($set):</a:t>
          </a:r>
        </a:p>
      </dgm:t>
    </dgm:pt>
    <dgm:pt modelId="{CE339C3C-C4C6-4B0D-BDCD-5AE4CC2EC5FF}" type="parTrans" cxnId="{009949C5-936F-48FB-94F0-197BFA7A14BF}">
      <dgm:prSet/>
      <dgm:spPr/>
      <dgm:t>
        <a:bodyPr/>
        <a:lstStyle/>
        <a:p>
          <a:endParaRPr lang="en-US" sz="2000">
            <a:solidFill>
              <a:srgbClr val="000000"/>
            </a:solidFill>
          </a:endParaRPr>
        </a:p>
      </dgm:t>
    </dgm:pt>
    <dgm:pt modelId="{11708CF1-E602-4628-B226-34D5DF4425D9}" type="sibTrans" cxnId="{009949C5-936F-48FB-94F0-197BFA7A14BF}">
      <dgm:prSet/>
      <dgm:spPr/>
      <dgm:t>
        <a:bodyPr/>
        <a:lstStyle/>
        <a:p>
          <a:endParaRPr lang="en-US" sz="2000">
            <a:solidFill>
              <a:srgbClr val="000000"/>
            </a:solidFill>
          </a:endParaRPr>
        </a:p>
      </dgm:t>
    </dgm:pt>
    <dgm:pt modelId="{BE9902E8-D682-4717-8246-ABC1F054E2CE}">
      <dgm:prSet custT="1"/>
      <dgm:spPr/>
      <dgm:t>
        <a:bodyPr/>
        <a:lstStyle/>
        <a:p>
          <a:r>
            <a:rPr lang="en-US" sz="2000" dirty="0" smtClean="0">
              <a:solidFill>
                <a:srgbClr val="000000"/>
              </a:solidFill>
            </a:rPr>
            <a:t>&gt;db.employees.update({firstname:"vaishali"},{$set:{salary:6000}})</a:t>
          </a:r>
        </a:p>
      </dgm:t>
    </dgm:pt>
    <dgm:pt modelId="{2A46A27E-30EB-4DBB-8299-BB0295F751AB}" type="parTrans" cxnId="{CAFA266B-11F1-485D-8AB2-3D5E6A28CDDD}">
      <dgm:prSet/>
      <dgm:spPr/>
      <dgm:t>
        <a:bodyPr/>
        <a:lstStyle/>
        <a:p>
          <a:endParaRPr lang="en-US" sz="2000">
            <a:solidFill>
              <a:srgbClr val="000000"/>
            </a:solidFill>
          </a:endParaRPr>
        </a:p>
      </dgm:t>
    </dgm:pt>
    <dgm:pt modelId="{5B57E7E3-B93F-45DD-8B1D-659D04C776D4}" type="sibTrans" cxnId="{CAFA266B-11F1-485D-8AB2-3D5E6A28CDD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68958">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40DC4E25-C0E3-46B0-AD6C-553019A88E3D}" type="pres">
      <dgm:prSet presAssocID="{D33F78FD-08F1-437C-966C-1EEF03AA1D75}" presName="parentText" presStyleLbl="node1" presStyleIdx="1" presStyleCnt="3" custScaleY="33706">
        <dgm:presLayoutVars>
          <dgm:chMax val="0"/>
          <dgm:bulletEnabled val="1"/>
        </dgm:presLayoutVars>
      </dgm:prSet>
      <dgm:spPr/>
      <dgm:t>
        <a:bodyPr/>
        <a:lstStyle/>
        <a:p>
          <a:endParaRPr lang="en-US"/>
        </a:p>
      </dgm:t>
    </dgm:pt>
    <dgm:pt modelId="{794B7E88-9E8B-4B75-BFEA-23C35D715A60}" type="pres">
      <dgm:prSet presAssocID="{D33F78FD-08F1-437C-966C-1EEF03AA1D75}" presName="childText" presStyleLbl="revTx" presStyleIdx="1" presStyleCnt="2">
        <dgm:presLayoutVars>
          <dgm:bulletEnabled val="1"/>
        </dgm:presLayoutVars>
      </dgm:prSet>
      <dgm:spPr/>
      <dgm:t>
        <a:bodyPr/>
        <a:lstStyle/>
        <a:p>
          <a:endParaRPr lang="en-US"/>
        </a:p>
      </dgm:t>
    </dgm:pt>
    <dgm:pt modelId="{9644CD37-992D-4661-846B-D0091ECBFD0B}" type="pres">
      <dgm:prSet presAssocID="{6C049D14-3836-4BAD-B48F-FD29C3DB5266}" presName="parentText" presStyleLbl="node1" presStyleIdx="2" presStyleCnt="3" custLinFactY="13484" custLinFactNeighborX="-936" custLinFactNeighborY="100000">
        <dgm:presLayoutVars>
          <dgm:chMax val="0"/>
          <dgm:bulletEnabled val="1"/>
        </dgm:presLayoutVars>
      </dgm:prSet>
      <dgm:spPr/>
      <dgm:t>
        <a:bodyPr/>
        <a:lstStyle/>
        <a:p>
          <a:endParaRPr lang="en-US"/>
        </a:p>
      </dgm:t>
    </dgm:pt>
  </dgm:ptLst>
  <dgm:cxnLst>
    <dgm:cxn modelId="{432BCE30-7985-49D8-B0D9-51FFE3825DC4}" srcId="{29B1402D-A153-4C5A-BE98-8D9F1780C5D8}" destId="{6C049D14-3836-4BAD-B48F-FD29C3DB5266}" srcOrd="2" destOrd="0" parTransId="{B5A04DB8-AB61-438C-8F11-9CBBA26ABC58}" sibTransId="{4E976FEB-48A0-4417-9CFB-037D006C70EA}"/>
    <dgm:cxn modelId="{84904ED1-FA8D-4503-8EC5-5E18CD543EB2}"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B340B90C-3A45-4CDB-91ED-AD5AB7563B59}" type="presOf" srcId="{6C049D14-3836-4BAD-B48F-FD29C3DB5266}" destId="{9644CD37-992D-4661-846B-D0091ECBFD0B}" srcOrd="0" destOrd="0" presId="urn:microsoft.com/office/officeart/2005/8/layout/vList2"/>
    <dgm:cxn modelId="{2E506C6B-4BF8-464B-A5FF-E721276FC6AB}" type="presOf" srcId="{BE9902E8-D682-4717-8246-ABC1F054E2CE}" destId="{794B7E88-9E8B-4B75-BFEA-23C35D715A60}" srcOrd="0" destOrd="0" presId="urn:microsoft.com/office/officeart/2005/8/layout/vList2"/>
    <dgm:cxn modelId="{CAFA266B-11F1-485D-8AB2-3D5E6A28CDDD}" srcId="{D33F78FD-08F1-437C-966C-1EEF03AA1D75}" destId="{BE9902E8-D682-4717-8246-ABC1F054E2CE}" srcOrd="0" destOrd="0" parTransId="{2A46A27E-30EB-4DBB-8299-BB0295F751AB}" sibTransId="{5B57E7E3-B93F-45DD-8B1D-659D04C776D4}"/>
    <dgm:cxn modelId="{009949C5-936F-48FB-94F0-197BFA7A14BF}" srcId="{29B1402D-A153-4C5A-BE98-8D9F1780C5D8}" destId="{D33F78FD-08F1-437C-966C-1EEF03AA1D75}" srcOrd="1" destOrd="0" parTransId="{CE339C3C-C4C6-4B0D-BDCD-5AE4CC2EC5FF}" sibTransId="{11708CF1-E602-4628-B226-34D5DF4425D9}"/>
    <dgm:cxn modelId="{7C195A6A-D664-4115-8F24-29CBEED8B712}" type="presOf" srcId="{D33F78FD-08F1-437C-966C-1EEF03AA1D75}" destId="{40DC4E25-C0E3-46B0-AD6C-553019A88E3D}" srcOrd="0" destOrd="0" presId="urn:microsoft.com/office/officeart/2005/8/layout/vList2"/>
    <dgm:cxn modelId="{6D96432E-2FD7-4BB0-9CA6-95BFE80D8CA6}" srcId="{01B48101-CFA8-4641-83C7-B22F9ABEB30B}" destId="{CB7AA91B-7F70-4BAF-81C8-F2604441AF5F}" srcOrd="0" destOrd="0" parTransId="{B0B12304-B597-4B7B-9F34-E21FAEA4C37B}" sibTransId="{DF50C085-115A-4F90-BF4F-CD90C66696A0}"/>
    <dgm:cxn modelId="{9474DC4E-DBB3-49E6-A7F1-86679D3E7029}" type="presOf" srcId="{CB7AA91B-7F70-4BAF-81C8-F2604441AF5F}" destId="{D35D2B51-CDB9-456F-AB69-03B1DA780EB7}" srcOrd="0" destOrd="0" presId="urn:microsoft.com/office/officeart/2005/8/layout/vList2"/>
    <dgm:cxn modelId="{1ADAC294-66F8-4C95-A0DF-D44D3CCEC6F5}" type="presOf" srcId="{29B1402D-A153-4C5A-BE98-8D9F1780C5D8}" destId="{EA2E1B46-256E-4363-AF1A-0C8557BCBA36}" srcOrd="0" destOrd="0" presId="urn:microsoft.com/office/officeart/2005/8/layout/vList2"/>
    <dgm:cxn modelId="{7042C39F-EEBC-49FC-9DA9-749E1F6346A5}" type="presParOf" srcId="{EA2E1B46-256E-4363-AF1A-0C8557BCBA36}" destId="{A77B38D6-8EF8-4F56-B969-6807478B1038}" srcOrd="0" destOrd="0" presId="urn:microsoft.com/office/officeart/2005/8/layout/vList2"/>
    <dgm:cxn modelId="{210955E5-852C-4CC2-A3A3-23EDC894A9A7}" type="presParOf" srcId="{EA2E1B46-256E-4363-AF1A-0C8557BCBA36}" destId="{D35D2B51-CDB9-456F-AB69-03B1DA780EB7}" srcOrd="1" destOrd="0" presId="urn:microsoft.com/office/officeart/2005/8/layout/vList2"/>
    <dgm:cxn modelId="{D48B9BFA-B0F7-44E3-9E0B-70B26363EB9F}" type="presParOf" srcId="{EA2E1B46-256E-4363-AF1A-0C8557BCBA36}" destId="{40DC4E25-C0E3-46B0-AD6C-553019A88E3D}" srcOrd="2" destOrd="0" presId="urn:microsoft.com/office/officeart/2005/8/layout/vList2"/>
    <dgm:cxn modelId="{37C205DE-E42D-4D96-BA89-90FFB5645310}" type="presParOf" srcId="{EA2E1B46-256E-4363-AF1A-0C8557BCBA36}" destId="{794B7E88-9E8B-4B75-BFEA-23C35D715A60}" srcOrd="3" destOrd="0" presId="urn:microsoft.com/office/officeart/2005/8/layout/vList2"/>
    <dgm:cxn modelId="{352437A7-60E4-4F70-9233-87BB87B64BF9}" type="presParOf" srcId="{EA2E1B46-256E-4363-AF1A-0C8557BCBA36}" destId="{9644CD37-992D-4661-846B-D0091ECBFD0B}"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5. Unset Modifier($unset):</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0A13416F-FB92-4F00-A4C7-FF82AADFF62B}">
      <dgm:prSet custT="1"/>
      <dgm:spPr/>
      <dgm:t>
        <a:bodyPr/>
        <a:lstStyle/>
        <a:p>
          <a:r>
            <a:rPr lang="en-US" sz="2000" dirty="0" smtClean="0">
              <a:solidFill>
                <a:srgbClr val="000000"/>
              </a:solidFill>
            </a:rPr>
            <a:t>&gt;db.employees.update({firstname:"vrushali"},{$unset:{lastname:1}})</a:t>
          </a:r>
        </a:p>
      </dgm:t>
    </dgm:pt>
    <dgm:pt modelId="{9CF6624F-296C-466A-84CA-7FFB295ED2B9}" type="parTrans" cxnId="{24B4106F-F157-4D3B-8323-2CDE477E288F}">
      <dgm:prSet/>
      <dgm:spPr/>
      <dgm:t>
        <a:bodyPr/>
        <a:lstStyle/>
        <a:p>
          <a:endParaRPr lang="en-US" sz="2000">
            <a:solidFill>
              <a:srgbClr val="000000"/>
            </a:solidFill>
          </a:endParaRPr>
        </a:p>
      </dgm:t>
    </dgm:pt>
    <dgm:pt modelId="{ED087C9D-ACB1-49AC-9636-587435BA6444}" type="sibTrans" cxnId="{24B4106F-F157-4D3B-8323-2CDE477E288F}">
      <dgm:prSet/>
      <dgm:spPr/>
      <dgm:t>
        <a:bodyPr/>
        <a:lstStyle/>
        <a:p>
          <a:endParaRPr lang="en-US" sz="2000">
            <a:solidFill>
              <a:srgbClr val="000000"/>
            </a:solidFill>
          </a:endParaRPr>
        </a:p>
      </dgm:t>
    </dgm:pt>
    <dgm:pt modelId="{6EC2FED8-9E08-4163-81CE-2B642D784E58}">
      <dgm:prSet custT="1"/>
      <dgm:spPr/>
      <dgm:t>
        <a:bodyPr/>
        <a:lstStyle/>
        <a:p>
          <a:r>
            <a:rPr lang="en-US" sz="2000" dirty="0" smtClean="0">
              <a:solidFill>
                <a:srgbClr val="000000"/>
              </a:solidFill>
            </a:rPr>
            <a:t>6. Push Modifier($push): </a:t>
          </a:r>
        </a:p>
      </dgm:t>
    </dgm:pt>
    <dgm:pt modelId="{D5D9C008-3DED-464F-8E9A-99BFE3C47833}" type="parTrans" cxnId="{9DBCA99B-7E1F-435D-9B35-224F76700E46}">
      <dgm:prSet/>
      <dgm:spPr/>
      <dgm:t>
        <a:bodyPr/>
        <a:lstStyle/>
        <a:p>
          <a:endParaRPr lang="en-US" sz="2000">
            <a:solidFill>
              <a:srgbClr val="000000"/>
            </a:solidFill>
          </a:endParaRPr>
        </a:p>
      </dgm:t>
    </dgm:pt>
    <dgm:pt modelId="{E7411199-8C1D-4C83-AED8-BD100EDE1BF7}" type="sibTrans" cxnId="{9DBCA99B-7E1F-435D-9B35-224F76700E46}">
      <dgm:prSet/>
      <dgm:spPr/>
      <dgm:t>
        <a:bodyPr/>
        <a:lstStyle/>
        <a:p>
          <a:endParaRPr lang="en-US" sz="2000">
            <a:solidFill>
              <a:srgbClr val="000000"/>
            </a:solidFill>
          </a:endParaRPr>
        </a:p>
      </dgm:t>
    </dgm:pt>
    <dgm:pt modelId="{6DA64DAB-094C-4CB0-B1CE-26B78B98E813}">
      <dgm:prSet custT="1"/>
      <dgm:spPr/>
      <dgm:t>
        <a:bodyPr/>
        <a:lstStyle/>
        <a:p>
          <a:r>
            <a:rPr lang="en-US" sz="2000" dirty="0" smtClean="0">
              <a:solidFill>
                <a:srgbClr val="000000"/>
              </a:solidFill>
            </a:rPr>
            <a:t>&gt;db.employees.update({firstname:"anjulata"},{"$push":{"foodILike":["pizza","idali"]}})</a:t>
          </a:r>
        </a:p>
      </dgm:t>
    </dgm:pt>
    <dgm:pt modelId="{6B4E212C-1E62-4F42-B74D-CD7949D029D9}" type="parTrans" cxnId="{E85A6487-4124-4CD0-B6F4-E6F2D35CAAD3}">
      <dgm:prSet/>
      <dgm:spPr/>
      <dgm:t>
        <a:bodyPr/>
        <a:lstStyle/>
        <a:p>
          <a:endParaRPr lang="en-US" sz="2000">
            <a:solidFill>
              <a:srgbClr val="000000"/>
            </a:solidFill>
          </a:endParaRPr>
        </a:p>
      </dgm:t>
    </dgm:pt>
    <dgm:pt modelId="{E6DA1DA6-0154-41BC-8C05-232CB52C79A9}" type="sibTrans" cxnId="{E85A6487-4124-4CD0-B6F4-E6F2D35CAAD3}">
      <dgm:prSet/>
      <dgm:spPr/>
      <dgm:t>
        <a:bodyPr/>
        <a:lstStyle/>
        <a:p>
          <a:endParaRPr lang="en-US" sz="2000">
            <a:solidFill>
              <a:srgbClr val="000000"/>
            </a:solidFill>
          </a:endParaRPr>
        </a:p>
      </dgm:t>
    </dgm:pt>
    <dgm:pt modelId="{20CABD04-EA76-4E8E-A42F-39B05B5A627A}">
      <dgm:prSet custT="1"/>
      <dgm:spPr/>
      <dgm:t>
        <a:bodyPr/>
        <a:lstStyle/>
        <a:p>
          <a:r>
            <a:rPr lang="en-US" sz="2000" dirty="0" smtClean="0">
              <a:solidFill>
                <a:srgbClr val="000000"/>
              </a:solidFill>
            </a:rPr>
            <a:t>NOTE: "$push" adds an element to the end of an array if the specified key already exists and creates a new array if it does not.</a:t>
          </a:r>
          <a:endParaRPr lang="en-US" sz="2000" dirty="0">
            <a:solidFill>
              <a:srgbClr val="000000"/>
            </a:solidFill>
          </a:endParaRPr>
        </a:p>
      </dgm:t>
    </dgm:pt>
    <dgm:pt modelId="{714212A4-9B22-4BB7-A06C-32270C5E9C6E}" type="parTrans" cxnId="{3941584E-FA4A-4C81-BF1D-6DC0A33A4E3F}">
      <dgm:prSet/>
      <dgm:spPr/>
      <dgm:t>
        <a:bodyPr/>
        <a:lstStyle/>
        <a:p>
          <a:endParaRPr lang="en-US" sz="2000">
            <a:solidFill>
              <a:srgbClr val="000000"/>
            </a:solidFill>
          </a:endParaRPr>
        </a:p>
      </dgm:t>
    </dgm:pt>
    <dgm:pt modelId="{D89BD8D0-B7DD-4E43-82A9-C189883D164F}" type="sibTrans" cxnId="{3941584E-FA4A-4C81-BF1D-6DC0A33A4E3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63319">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0BC5330D-888B-487A-9311-B5A8B2FAD154}" type="pres">
      <dgm:prSet presAssocID="{6EC2FED8-9E08-4163-81CE-2B642D784E58}" presName="parentText" presStyleLbl="node1" presStyleIdx="1" presStyleCnt="3" custScaleY="79181" custLinFactNeighborY="-12985">
        <dgm:presLayoutVars>
          <dgm:chMax val="0"/>
          <dgm:bulletEnabled val="1"/>
        </dgm:presLayoutVars>
      </dgm:prSet>
      <dgm:spPr/>
      <dgm:t>
        <a:bodyPr/>
        <a:lstStyle/>
        <a:p>
          <a:endParaRPr lang="en-US"/>
        </a:p>
      </dgm:t>
    </dgm:pt>
    <dgm:pt modelId="{A86E66DF-3078-469F-8828-E516EC07AE64}" type="pres">
      <dgm:prSet presAssocID="{6EC2FED8-9E08-4163-81CE-2B642D784E58}" presName="childText" presStyleLbl="revTx" presStyleIdx="1" presStyleCnt="2">
        <dgm:presLayoutVars>
          <dgm:bulletEnabled val="1"/>
        </dgm:presLayoutVars>
      </dgm:prSet>
      <dgm:spPr/>
      <dgm:t>
        <a:bodyPr/>
        <a:lstStyle/>
        <a:p>
          <a:endParaRPr lang="en-US"/>
        </a:p>
      </dgm:t>
    </dgm:pt>
    <dgm:pt modelId="{74E8FA8A-28F6-4195-91D6-4A791B9408D8}" type="pres">
      <dgm:prSet presAssocID="{20CABD04-EA76-4E8E-A42F-39B05B5A627A}" presName="parentText" presStyleLbl="node1" presStyleIdx="2" presStyleCnt="3">
        <dgm:presLayoutVars>
          <dgm:chMax val="0"/>
          <dgm:bulletEnabled val="1"/>
        </dgm:presLayoutVars>
      </dgm:prSet>
      <dgm:spPr/>
      <dgm:t>
        <a:bodyPr/>
        <a:lstStyle/>
        <a:p>
          <a:endParaRPr lang="en-US"/>
        </a:p>
      </dgm:t>
    </dgm:pt>
  </dgm:ptLst>
  <dgm:cxnLst>
    <dgm:cxn modelId="{9DBCA99B-7E1F-435D-9B35-224F76700E46}" srcId="{29B1402D-A153-4C5A-BE98-8D9F1780C5D8}" destId="{6EC2FED8-9E08-4163-81CE-2B642D784E58}" srcOrd="1" destOrd="0" parTransId="{D5D9C008-3DED-464F-8E9A-99BFE3C47833}" sibTransId="{E7411199-8C1D-4C83-AED8-BD100EDE1BF7}"/>
    <dgm:cxn modelId="{E07CAD63-0E86-4D7B-A66A-5C3588C48197}" srcId="{29B1402D-A153-4C5A-BE98-8D9F1780C5D8}" destId="{01B48101-CFA8-4641-83C7-B22F9ABEB30B}" srcOrd="0" destOrd="0" parTransId="{4D5AEF54-14FE-4BA4-987A-BECEB44108D1}" sibTransId="{F03A470E-D788-4E8C-8198-3EC2B90C12B1}"/>
    <dgm:cxn modelId="{3941584E-FA4A-4C81-BF1D-6DC0A33A4E3F}" srcId="{29B1402D-A153-4C5A-BE98-8D9F1780C5D8}" destId="{20CABD04-EA76-4E8E-A42F-39B05B5A627A}" srcOrd="2" destOrd="0" parTransId="{714212A4-9B22-4BB7-A06C-32270C5E9C6E}" sibTransId="{D89BD8D0-B7DD-4E43-82A9-C189883D164F}"/>
    <dgm:cxn modelId="{7A58974F-F36B-472A-B9EE-04B8690554E0}" type="presOf" srcId="{01B48101-CFA8-4641-83C7-B22F9ABEB30B}" destId="{A77B38D6-8EF8-4F56-B969-6807478B1038}" srcOrd="0" destOrd="0" presId="urn:microsoft.com/office/officeart/2005/8/layout/vList2"/>
    <dgm:cxn modelId="{961799E6-E16E-408B-92D7-CDFB0FC1A657}" type="presOf" srcId="{29B1402D-A153-4C5A-BE98-8D9F1780C5D8}" destId="{EA2E1B46-256E-4363-AF1A-0C8557BCBA36}" srcOrd="0" destOrd="0" presId="urn:microsoft.com/office/officeart/2005/8/layout/vList2"/>
    <dgm:cxn modelId="{E85A6487-4124-4CD0-B6F4-E6F2D35CAAD3}" srcId="{6EC2FED8-9E08-4163-81CE-2B642D784E58}" destId="{6DA64DAB-094C-4CB0-B1CE-26B78B98E813}" srcOrd="0" destOrd="0" parTransId="{6B4E212C-1E62-4F42-B74D-CD7949D029D9}" sibTransId="{E6DA1DA6-0154-41BC-8C05-232CB52C79A9}"/>
    <dgm:cxn modelId="{FADEA811-11E6-45B4-9BB1-2FD563B4C3FF}" type="presOf" srcId="{0A13416F-FB92-4F00-A4C7-FF82AADFF62B}" destId="{D35D2B51-CDB9-456F-AB69-03B1DA780EB7}" srcOrd="0" destOrd="0" presId="urn:microsoft.com/office/officeart/2005/8/layout/vList2"/>
    <dgm:cxn modelId="{2B191BCC-F5FA-4ECC-B6D9-ADD86C30AD70}" type="presOf" srcId="{6EC2FED8-9E08-4163-81CE-2B642D784E58}" destId="{0BC5330D-888B-487A-9311-B5A8B2FAD154}" srcOrd="0" destOrd="0" presId="urn:microsoft.com/office/officeart/2005/8/layout/vList2"/>
    <dgm:cxn modelId="{24B4106F-F157-4D3B-8323-2CDE477E288F}" srcId="{01B48101-CFA8-4641-83C7-B22F9ABEB30B}" destId="{0A13416F-FB92-4F00-A4C7-FF82AADFF62B}" srcOrd="0" destOrd="0" parTransId="{9CF6624F-296C-466A-84CA-7FFB295ED2B9}" sibTransId="{ED087C9D-ACB1-49AC-9636-587435BA6444}"/>
    <dgm:cxn modelId="{DC10CC23-FF02-42D5-B2F3-27232EAB10D3}" type="presOf" srcId="{6DA64DAB-094C-4CB0-B1CE-26B78B98E813}" destId="{A86E66DF-3078-469F-8828-E516EC07AE64}" srcOrd="0" destOrd="0" presId="urn:microsoft.com/office/officeart/2005/8/layout/vList2"/>
    <dgm:cxn modelId="{9CF7CFC7-EE6B-43B6-9EB2-908DCEDF5855}" type="presOf" srcId="{20CABD04-EA76-4E8E-A42F-39B05B5A627A}" destId="{74E8FA8A-28F6-4195-91D6-4A791B9408D8}" srcOrd="0" destOrd="0" presId="urn:microsoft.com/office/officeart/2005/8/layout/vList2"/>
    <dgm:cxn modelId="{A7399DF9-0D78-4838-9278-2E2B2243E637}" type="presParOf" srcId="{EA2E1B46-256E-4363-AF1A-0C8557BCBA36}" destId="{A77B38D6-8EF8-4F56-B969-6807478B1038}" srcOrd="0" destOrd="0" presId="urn:microsoft.com/office/officeart/2005/8/layout/vList2"/>
    <dgm:cxn modelId="{85CAC883-F7AD-4AF5-B71E-612F191C336B}" type="presParOf" srcId="{EA2E1B46-256E-4363-AF1A-0C8557BCBA36}" destId="{D35D2B51-CDB9-456F-AB69-03B1DA780EB7}" srcOrd="1" destOrd="0" presId="urn:microsoft.com/office/officeart/2005/8/layout/vList2"/>
    <dgm:cxn modelId="{95964FBA-90D4-4AE7-98C9-94001AC6555E}" type="presParOf" srcId="{EA2E1B46-256E-4363-AF1A-0C8557BCBA36}" destId="{0BC5330D-888B-487A-9311-B5A8B2FAD154}" srcOrd="2" destOrd="0" presId="urn:microsoft.com/office/officeart/2005/8/layout/vList2"/>
    <dgm:cxn modelId="{D3F3E2FE-5291-4BDB-8C4E-7E9B0CE08C8A}" type="presParOf" srcId="{EA2E1B46-256E-4363-AF1A-0C8557BCBA36}" destId="{A86E66DF-3078-469F-8828-E516EC07AE64}" srcOrd="3" destOrd="0" presId="urn:microsoft.com/office/officeart/2005/8/layout/vList2"/>
    <dgm:cxn modelId="{B22FC160-114B-4FA2-8032-CAA608F99228}" type="presParOf" srcId="{EA2E1B46-256E-4363-AF1A-0C8557BCBA36}" destId="{74E8FA8A-28F6-4195-91D6-4A791B9408D8}"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9. Pull Modifier($pull):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1D572A71-77EF-4FF1-9BD9-FF0796AC0079}">
      <dgm:prSet custT="1"/>
      <dgm:spPr/>
      <dgm:t>
        <a:bodyPr/>
        <a:lstStyle/>
        <a:p>
          <a:r>
            <a:rPr lang="en-US" sz="2000" dirty="0" smtClean="0">
              <a:solidFill>
                <a:srgbClr val="000000"/>
              </a:solidFill>
            </a:rPr>
            <a:t>&gt;db.employees.update({firstname:"anjulata"},{$pull:{foodILike:"pizza"}})</a:t>
          </a:r>
        </a:p>
      </dgm:t>
    </dgm:pt>
    <dgm:pt modelId="{ACF757BC-E35B-4240-BE4E-B1A1575C2885}" type="parTrans" cxnId="{EBEBFC92-384A-4BA3-A9D3-7E8F61929A4C}">
      <dgm:prSet/>
      <dgm:spPr/>
      <dgm:t>
        <a:bodyPr/>
        <a:lstStyle/>
        <a:p>
          <a:endParaRPr lang="en-US" sz="2000">
            <a:solidFill>
              <a:srgbClr val="000000"/>
            </a:solidFill>
          </a:endParaRPr>
        </a:p>
      </dgm:t>
    </dgm:pt>
    <dgm:pt modelId="{F85A4F17-50D4-42C4-97B0-99F203E5A4B9}" type="sibTrans" cxnId="{EBEBFC92-384A-4BA3-A9D3-7E8F61929A4C}">
      <dgm:prSet/>
      <dgm:spPr/>
      <dgm:t>
        <a:bodyPr/>
        <a:lstStyle/>
        <a:p>
          <a:endParaRPr lang="en-US" sz="2000">
            <a:solidFill>
              <a:srgbClr val="000000"/>
            </a:solidFill>
          </a:endParaRPr>
        </a:p>
      </dgm:t>
    </dgm:pt>
    <dgm:pt modelId="{F842064D-3B55-45A8-87F5-733E7A390027}">
      <dgm:prSet custT="1"/>
      <dgm:spPr/>
      <dgm:t>
        <a:bodyPr/>
        <a:lstStyle/>
        <a:p>
          <a:r>
            <a:rPr lang="en-US" sz="2000" dirty="0" smtClean="0">
              <a:solidFill>
                <a:srgbClr val="000000"/>
              </a:solidFill>
            </a:rPr>
            <a:t>NOTE: Pulling removes all matching documents, not just a single match. </a:t>
          </a:r>
        </a:p>
      </dgm:t>
    </dgm:pt>
    <dgm:pt modelId="{DD0D9F9C-5750-4BA4-BF20-A9B1AB2BC518}" type="parTrans" cxnId="{EE993D17-DB07-4E49-B597-654E7515C9A2}">
      <dgm:prSet/>
      <dgm:spPr/>
      <dgm:t>
        <a:bodyPr/>
        <a:lstStyle/>
        <a:p>
          <a:endParaRPr lang="en-US" sz="2000">
            <a:solidFill>
              <a:srgbClr val="000000"/>
            </a:solidFill>
          </a:endParaRPr>
        </a:p>
      </dgm:t>
    </dgm:pt>
    <dgm:pt modelId="{8E4C369D-11F0-45A1-A5B0-C933F214B9A0}" type="sibTrans" cxnId="{EE993D17-DB07-4E49-B597-654E7515C9A2}">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 modelId="{84CCDFF5-038A-4D77-97E6-F262D8597618}" type="pres">
      <dgm:prSet presAssocID="{F842064D-3B55-45A8-87F5-733E7A390027}" presName="parentText" presStyleLbl="node1" presStyleIdx="1" presStyleCnt="2">
        <dgm:presLayoutVars>
          <dgm:chMax val="0"/>
          <dgm:bulletEnabled val="1"/>
        </dgm:presLayoutVars>
      </dgm:prSet>
      <dgm:spPr/>
      <dgm:t>
        <a:bodyPr/>
        <a:lstStyle/>
        <a:p>
          <a:endParaRPr lang="en-US"/>
        </a:p>
      </dgm:t>
    </dgm:pt>
  </dgm:ptLst>
  <dgm:cxnLst>
    <dgm:cxn modelId="{E07CAD63-0E86-4D7B-A66A-5C3588C48197}" srcId="{29B1402D-A153-4C5A-BE98-8D9F1780C5D8}" destId="{01B48101-CFA8-4641-83C7-B22F9ABEB30B}" srcOrd="0" destOrd="0" parTransId="{4D5AEF54-14FE-4BA4-987A-BECEB44108D1}" sibTransId="{F03A470E-D788-4E8C-8198-3EC2B90C12B1}"/>
    <dgm:cxn modelId="{61D8AFED-9F76-46A9-AB2B-74D17830260D}" type="presOf" srcId="{1D572A71-77EF-4FF1-9BD9-FF0796AC0079}" destId="{D35D2B51-CDB9-456F-AB69-03B1DA780EB7}" srcOrd="0" destOrd="0" presId="urn:microsoft.com/office/officeart/2005/8/layout/vList2"/>
    <dgm:cxn modelId="{EBEBFC92-384A-4BA3-A9D3-7E8F61929A4C}" srcId="{01B48101-CFA8-4641-83C7-B22F9ABEB30B}" destId="{1D572A71-77EF-4FF1-9BD9-FF0796AC0079}" srcOrd="0" destOrd="0" parTransId="{ACF757BC-E35B-4240-BE4E-B1A1575C2885}" sibTransId="{F85A4F17-50D4-42C4-97B0-99F203E5A4B9}"/>
    <dgm:cxn modelId="{3EF76C18-85D7-48A4-9EA7-9164B80634DE}" type="presOf" srcId="{29B1402D-A153-4C5A-BE98-8D9F1780C5D8}" destId="{EA2E1B46-256E-4363-AF1A-0C8557BCBA36}" srcOrd="0" destOrd="0" presId="urn:microsoft.com/office/officeart/2005/8/layout/vList2"/>
    <dgm:cxn modelId="{4A4E3F84-B42F-437B-8C2A-0429DEC28CA6}" type="presOf" srcId="{F842064D-3B55-45A8-87F5-733E7A390027}" destId="{84CCDFF5-038A-4D77-97E6-F262D8597618}" srcOrd="0" destOrd="0" presId="urn:microsoft.com/office/officeart/2005/8/layout/vList2"/>
    <dgm:cxn modelId="{C49570C6-37A6-4FB4-AA63-D8A510E8688F}" type="presOf" srcId="{01B48101-CFA8-4641-83C7-B22F9ABEB30B}" destId="{A77B38D6-8EF8-4F56-B969-6807478B1038}" srcOrd="0" destOrd="0" presId="urn:microsoft.com/office/officeart/2005/8/layout/vList2"/>
    <dgm:cxn modelId="{EE993D17-DB07-4E49-B597-654E7515C9A2}" srcId="{29B1402D-A153-4C5A-BE98-8D9F1780C5D8}" destId="{F842064D-3B55-45A8-87F5-733E7A390027}" srcOrd="1" destOrd="0" parTransId="{DD0D9F9C-5750-4BA4-BF20-A9B1AB2BC518}" sibTransId="{8E4C369D-11F0-45A1-A5B0-C933F214B9A0}"/>
    <dgm:cxn modelId="{93BFD35A-B645-4F39-83FD-E36638CEABE5}" type="presParOf" srcId="{EA2E1B46-256E-4363-AF1A-0C8557BCBA36}" destId="{A77B38D6-8EF8-4F56-B969-6807478B1038}" srcOrd="0" destOrd="0" presId="urn:microsoft.com/office/officeart/2005/8/layout/vList2"/>
    <dgm:cxn modelId="{EACA5C03-51C9-4A9A-8E9A-87B363B39BDC}" type="presParOf" srcId="{EA2E1B46-256E-4363-AF1A-0C8557BCBA36}" destId="{D35D2B51-CDB9-456F-AB69-03B1DA780EB7}" srcOrd="1" destOrd="0" presId="urn:microsoft.com/office/officeart/2005/8/layout/vList2"/>
    <dgm:cxn modelId="{FA4ABD0C-6913-4B91-AA6F-C0067F9023FD}" type="presParOf" srcId="{EA2E1B46-256E-4363-AF1A-0C8557BCBA36}" destId="{84CCDFF5-038A-4D77-97E6-F262D8597618}"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in" can be used to query for a variety of values for a singleke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EE1F0236-157B-406D-88F6-3B3FE3C1141C}">
      <dgm:prSet custT="1"/>
      <dgm:spPr/>
      <dgm:t>
        <a:bodyPr/>
        <a:lstStyle/>
        <a:p>
          <a:r>
            <a:rPr lang="en-US" sz="2000" dirty="0" smtClean="0">
              <a:solidFill>
                <a:srgbClr val="000000"/>
              </a:solidFill>
            </a:rPr>
            <a:t>&gt;db.employees.find( { salary: { $in: [ 2000, 30000 ] } } )</a:t>
          </a:r>
        </a:p>
      </dgm:t>
    </dgm:pt>
    <dgm:pt modelId="{E1DCE16B-B5F0-4A4E-940A-6DD51B4343BC}" type="parTrans" cxnId="{3ADDF767-2F1E-46C7-AED3-30F38C745013}">
      <dgm:prSet/>
      <dgm:spPr/>
      <dgm:t>
        <a:bodyPr/>
        <a:lstStyle/>
        <a:p>
          <a:endParaRPr lang="en-US" sz="2000">
            <a:solidFill>
              <a:srgbClr val="000000"/>
            </a:solidFill>
          </a:endParaRPr>
        </a:p>
      </dgm:t>
    </dgm:pt>
    <dgm:pt modelId="{A224141A-027B-4BE6-8048-668A3F5A5466}" type="sibTrans" cxnId="{3ADDF767-2F1E-46C7-AED3-30F38C745013}">
      <dgm:prSet/>
      <dgm:spPr/>
      <dgm:t>
        <a:bodyPr/>
        <a:lstStyle/>
        <a:p>
          <a:endParaRPr lang="en-US" sz="2000">
            <a:solidFill>
              <a:srgbClr val="000000"/>
            </a:solidFill>
          </a:endParaRPr>
        </a:p>
      </dgm:t>
    </dgm:pt>
    <dgm:pt modelId="{907D6512-EF29-46D1-B91E-415E7E88D062}">
      <dgm:prSet custT="1"/>
      <dgm:spPr/>
      <dgm:t>
        <a:bodyPr/>
        <a:lstStyle/>
        <a:p>
          <a:r>
            <a:rPr lang="en-US" sz="2000" dirty="0" smtClean="0">
              <a:solidFill>
                <a:srgbClr val="000000"/>
              </a:solidFill>
            </a:rPr>
            <a:t>2. "$or" is more general; it can be used to query for anyof the given values across multiple keys.</a:t>
          </a:r>
        </a:p>
      </dgm:t>
    </dgm:pt>
    <dgm:pt modelId="{F6B43D47-4C63-4BA9-8690-62E9769C96AE}" type="parTrans" cxnId="{20BF9A9C-174D-4F4B-A887-97804A5EE469}">
      <dgm:prSet/>
      <dgm:spPr/>
      <dgm:t>
        <a:bodyPr/>
        <a:lstStyle/>
        <a:p>
          <a:endParaRPr lang="en-US" sz="2000">
            <a:solidFill>
              <a:srgbClr val="000000"/>
            </a:solidFill>
          </a:endParaRPr>
        </a:p>
      </dgm:t>
    </dgm:pt>
    <dgm:pt modelId="{36FE2E77-50C1-45B3-8A12-65E8F36A4DCE}" type="sibTrans" cxnId="{20BF9A9C-174D-4F4B-A887-97804A5EE469}">
      <dgm:prSet/>
      <dgm:spPr/>
      <dgm:t>
        <a:bodyPr/>
        <a:lstStyle/>
        <a:p>
          <a:endParaRPr lang="en-US" sz="2000">
            <a:solidFill>
              <a:srgbClr val="000000"/>
            </a:solidFill>
          </a:endParaRPr>
        </a:p>
      </dgm:t>
    </dgm:pt>
    <dgm:pt modelId="{D60B5AA1-CDE6-4E40-9982-57C8D9172A7B}">
      <dgm:prSet custT="1"/>
      <dgm:spPr/>
      <dgm:t>
        <a:bodyPr/>
        <a:lstStyle/>
        <a:p>
          <a:r>
            <a:rPr lang="en-US" sz="2000" dirty="0" smtClean="0"/>
            <a:t>&gt;db.employees.find( { $or: [ { age:{ $lte: 34 } }, { salary:{$gt:50000}}]})</a:t>
          </a:r>
          <a:endParaRPr lang="en-US" sz="2000" dirty="0">
            <a:solidFill>
              <a:srgbClr val="000000"/>
            </a:solidFill>
          </a:endParaRPr>
        </a:p>
      </dgm:t>
    </dgm:pt>
    <dgm:pt modelId="{8393C0A9-9206-4783-8951-321E70D057B3}" type="parTrans" cxnId="{A23D1E78-2F05-4A34-8732-235D45473092}">
      <dgm:prSet/>
      <dgm:spPr/>
      <dgm:t>
        <a:bodyPr/>
        <a:lstStyle/>
        <a:p>
          <a:endParaRPr lang="en-US" sz="2000">
            <a:solidFill>
              <a:srgbClr val="000000"/>
            </a:solidFill>
          </a:endParaRPr>
        </a:p>
      </dgm:t>
    </dgm:pt>
    <dgm:pt modelId="{592E35DE-12AA-441F-8778-DC80CF790378}" type="sibTrans" cxnId="{A23D1E78-2F05-4A34-8732-235D45473092}">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7751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CDEEA749-6A7B-4ED8-AEA4-299B3E306BA9}" type="pres">
      <dgm:prSet presAssocID="{907D6512-EF29-46D1-B91E-415E7E88D062}" presName="parentText" presStyleLbl="node1" presStyleIdx="1" presStyleCnt="2" custScaleY="75877" custLinFactNeighborX="171" custLinFactNeighborY="-17854">
        <dgm:presLayoutVars>
          <dgm:chMax val="0"/>
          <dgm:bulletEnabled val="1"/>
        </dgm:presLayoutVars>
      </dgm:prSet>
      <dgm:spPr/>
      <dgm:t>
        <a:bodyPr/>
        <a:lstStyle/>
        <a:p>
          <a:endParaRPr lang="en-US"/>
        </a:p>
      </dgm:t>
    </dgm:pt>
    <dgm:pt modelId="{3E1E3A23-405D-4767-BEDE-DFEC3E5CB4E0}" type="pres">
      <dgm:prSet presAssocID="{907D6512-EF29-46D1-B91E-415E7E88D062}" presName="childText" presStyleLbl="revTx" presStyleIdx="1" presStyleCnt="2">
        <dgm:presLayoutVars>
          <dgm:bulletEnabled val="1"/>
        </dgm:presLayoutVars>
      </dgm:prSet>
      <dgm:spPr/>
      <dgm:t>
        <a:bodyPr/>
        <a:lstStyle/>
        <a:p>
          <a:endParaRPr lang="en-US"/>
        </a:p>
      </dgm:t>
    </dgm:pt>
  </dgm:ptLst>
  <dgm:cxnLst>
    <dgm:cxn modelId="{A23D1E78-2F05-4A34-8732-235D45473092}" srcId="{907D6512-EF29-46D1-B91E-415E7E88D062}" destId="{D60B5AA1-CDE6-4E40-9982-57C8D9172A7B}" srcOrd="0" destOrd="0" parTransId="{8393C0A9-9206-4783-8951-321E70D057B3}" sibTransId="{592E35DE-12AA-441F-8778-DC80CF790378}"/>
    <dgm:cxn modelId="{3CFDE8C6-6DD8-4864-A9A2-EC42F85E1D92}" type="presOf" srcId="{EE1F0236-157B-406D-88F6-3B3FE3C1141C}" destId="{D35D2B51-CDB9-456F-AB69-03B1DA780EB7}" srcOrd="0" destOrd="0" presId="urn:microsoft.com/office/officeart/2005/8/layout/vList2"/>
    <dgm:cxn modelId="{C37024DD-A44F-4466-A529-67C69D7ADDF5}" type="presOf" srcId="{01B48101-CFA8-4641-83C7-B22F9ABEB30B}" destId="{A77B38D6-8EF8-4F56-B969-6807478B1038}" srcOrd="0" destOrd="0" presId="urn:microsoft.com/office/officeart/2005/8/layout/vList2"/>
    <dgm:cxn modelId="{3ADDF767-2F1E-46C7-AED3-30F38C745013}" srcId="{01B48101-CFA8-4641-83C7-B22F9ABEB30B}" destId="{EE1F0236-157B-406D-88F6-3B3FE3C1141C}" srcOrd="0" destOrd="0" parTransId="{E1DCE16B-B5F0-4A4E-940A-6DD51B4343BC}" sibTransId="{A224141A-027B-4BE6-8048-668A3F5A5466}"/>
    <dgm:cxn modelId="{20BF9A9C-174D-4F4B-A887-97804A5EE469}" srcId="{29B1402D-A153-4C5A-BE98-8D9F1780C5D8}" destId="{907D6512-EF29-46D1-B91E-415E7E88D062}" srcOrd="1" destOrd="0" parTransId="{F6B43D47-4C63-4BA9-8690-62E9769C96AE}" sibTransId="{36FE2E77-50C1-45B3-8A12-65E8F36A4DCE}"/>
    <dgm:cxn modelId="{4C956FC9-CE0E-4A30-B8D2-A6AF1AF018D1}" type="presOf" srcId="{D60B5AA1-CDE6-4E40-9982-57C8D9172A7B}" destId="{3E1E3A23-405D-4767-BEDE-DFEC3E5CB4E0}" srcOrd="0" destOrd="0" presId="urn:microsoft.com/office/officeart/2005/8/layout/vList2"/>
    <dgm:cxn modelId="{BDFFD853-7EE5-45F5-86B3-9FB00A05F043}" type="presOf" srcId="{907D6512-EF29-46D1-B91E-415E7E88D062}" destId="{CDEEA749-6A7B-4ED8-AEA4-299B3E306BA9}" srcOrd="0" destOrd="0" presId="urn:microsoft.com/office/officeart/2005/8/layout/vList2"/>
    <dgm:cxn modelId="{DF040904-5ACF-4196-AF43-D1B7670ADDA1}" type="presOf" srcId="{29B1402D-A153-4C5A-BE98-8D9F1780C5D8}" destId="{EA2E1B46-256E-4363-AF1A-0C8557BCBA36}"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72970C00-E903-4EDC-BB8F-A7072E3C08DD}" type="presParOf" srcId="{EA2E1B46-256E-4363-AF1A-0C8557BCBA36}" destId="{A77B38D6-8EF8-4F56-B969-6807478B1038}" srcOrd="0" destOrd="0" presId="urn:microsoft.com/office/officeart/2005/8/layout/vList2"/>
    <dgm:cxn modelId="{98A4A623-CA06-425F-822B-5D2DFC4E3F1F}" type="presParOf" srcId="{EA2E1B46-256E-4363-AF1A-0C8557BCBA36}" destId="{D35D2B51-CDB9-456F-AB69-03B1DA780EB7}" srcOrd="1" destOrd="0" presId="urn:microsoft.com/office/officeart/2005/8/layout/vList2"/>
    <dgm:cxn modelId="{3A4D7E2E-4305-4ED0-834F-90BD4A41E2A3}" type="presParOf" srcId="{EA2E1B46-256E-4363-AF1A-0C8557BCBA36}" destId="{CDEEA749-6A7B-4ED8-AEA4-299B3E306BA9}" srcOrd="2" destOrd="0" presId="urn:microsoft.com/office/officeart/2005/8/layout/vList2"/>
    <dgm:cxn modelId="{C1227F44-800D-4C85-90D2-E055537BC24A}" type="presParOf" srcId="{EA2E1B46-256E-4363-AF1A-0C8557BCBA36}" destId="{3E1E3A23-405D-4767-BEDE-DFEC3E5CB4E0}"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to do an OR query.</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26180243-1AF9-4B91-8EF7-4AB7F3BF149B}" type="presOf" srcId="{A75F727D-0F94-457F-B1A3-24BCC4BAD070}" destId="{6FBAE929-7FB3-4A51-9B33-40E57CB6BA57}" srcOrd="0" destOrd="0" presId="urn:microsoft.com/office/officeart/2005/8/layout/vList2"/>
    <dgm:cxn modelId="{D133B882-2B99-4292-A9D2-9A5517CEE78B}" srcId="{A75F727D-0F94-457F-B1A3-24BCC4BAD070}" destId="{2A8BDD8C-14B3-4240-BF0A-6041874F3528}" srcOrd="0" destOrd="0" parTransId="{AF913815-F032-42DE-8261-809408ACAF3A}" sibTransId="{B1939C16-12A4-4C63-ADA3-81143BB1D6D4}"/>
    <dgm:cxn modelId="{7A8C1379-FB27-49B7-B7E7-41C01E8F5A4D}" type="presOf" srcId="{2A8BDD8C-14B3-4240-BF0A-6041874F3528}" destId="{01645C7E-7696-4BEF-8323-E15903EA05D1}" srcOrd="0" destOrd="0" presId="urn:microsoft.com/office/officeart/2005/8/layout/vList2"/>
    <dgm:cxn modelId="{88F7EA6A-28C1-444A-BE03-3E5AABF53445}"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all" can be used to query for a variety of values for a singleke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FA5EE7A-30E5-455D-98FA-C2FF8BE57DCF}">
      <dgm:prSet custT="1"/>
      <dgm:spPr/>
      <dgm:t>
        <a:bodyPr/>
        <a:lstStyle/>
        <a:p>
          <a:r>
            <a:rPr lang="en-US" sz="2000" dirty="0" smtClean="0">
              <a:solidFill>
                <a:srgbClr val="000000"/>
              </a:solidFill>
            </a:rPr>
            <a:t>&gt; db.employees.find({contacts:{$all : ["7786666666","044-878888"]}}).count()</a:t>
          </a:r>
        </a:p>
      </dgm:t>
    </dgm:pt>
    <dgm:pt modelId="{F6B60D28-51CA-4C90-85E3-80DD2B5056B9}" type="parTrans" cxnId="{8BB6D996-F118-409F-AB21-981DA4362854}">
      <dgm:prSet/>
      <dgm:spPr/>
      <dgm:t>
        <a:bodyPr/>
        <a:lstStyle/>
        <a:p>
          <a:endParaRPr lang="en-US" sz="2000">
            <a:solidFill>
              <a:srgbClr val="000000"/>
            </a:solidFill>
          </a:endParaRPr>
        </a:p>
      </dgm:t>
    </dgm:pt>
    <dgm:pt modelId="{542A5ADD-3F6B-48E4-BB0A-BFB473DB08FB}" type="sibTrans" cxnId="{8BB6D996-F118-409F-AB21-981DA4362854}">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Lst>
  <dgm:cxnLst>
    <dgm:cxn modelId="{586374D8-1BB9-43D3-AF51-FF8634C57641}" type="presOf" srcId="{01B48101-CFA8-4641-83C7-B22F9ABEB30B}" destId="{A77B38D6-8EF8-4F56-B969-6807478B1038}" srcOrd="0" destOrd="0" presId="urn:microsoft.com/office/officeart/2005/8/layout/vList2"/>
    <dgm:cxn modelId="{8BB6D996-F118-409F-AB21-981DA4362854}" srcId="{01B48101-CFA8-4641-83C7-B22F9ABEB30B}" destId="{6FA5EE7A-30E5-455D-98FA-C2FF8BE57DCF}" srcOrd="0" destOrd="0" parTransId="{F6B60D28-51CA-4C90-85E3-80DD2B5056B9}" sibTransId="{542A5ADD-3F6B-48E4-BB0A-BFB473DB08FB}"/>
    <dgm:cxn modelId="{E07CAD63-0E86-4D7B-A66A-5C3588C48197}" srcId="{29B1402D-A153-4C5A-BE98-8D9F1780C5D8}" destId="{01B48101-CFA8-4641-83C7-B22F9ABEB30B}" srcOrd="0" destOrd="0" parTransId="{4D5AEF54-14FE-4BA4-987A-BECEB44108D1}" sibTransId="{F03A470E-D788-4E8C-8198-3EC2B90C12B1}"/>
    <dgm:cxn modelId="{23EEC5A0-6A6B-40C7-8546-EB6C6F06F890}" type="presOf" srcId="{6FA5EE7A-30E5-455D-98FA-C2FF8BE57DCF}" destId="{D35D2B51-CDB9-456F-AB69-03B1DA780EB7}" srcOrd="0" destOrd="0" presId="urn:microsoft.com/office/officeart/2005/8/layout/vList2"/>
    <dgm:cxn modelId="{2B925DC8-5C81-42C4-A27F-FB78135A14AC}" type="presOf" srcId="{29B1402D-A153-4C5A-BE98-8D9F1780C5D8}" destId="{EA2E1B46-256E-4363-AF1A-0C8557BCBA36}" srcOrd="0" destOrd="0" presId="urn:microsoft.com/office/officeart/2005/8/layout/vList2"/>
    <dgm:cxn modelId="{74F4A295-5005-42DB-8FDF-9EB68D29E36D}" type="presParOf" srcId="{EA2E1B46-256E-4363-AF1A-0C8557BCBA36}" destId="{A77B38D6-8EF8-4F56-B969-6807478B1038}" srcOrd="0" destOrd="0" presId="urn:microsoft.com/office/officeart/2005/8/layout/vList2"/>
    <dgm:cxn modelId="{2F9B4D1F-CAD3-4EDF-B343-6A2F6CF354F6}"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to do an AND query. </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D133B882-2B99-4292-A9D2-9A5517CEE78B}" srcId="{A75F727D-0F94-457F-B1A3-24BCC4BAD070}" destId="{2A8BDD8C-14B3-4240-BF0A-6041874F3528}" srcOrd="0" destOrd="0" parTransId="{AF913815-F032-42DE-8261-809408ACAF3A}" sibTransId="{B1939C16-12A4-4C63-ADA3-81143BB1D6D4}"/>
    <dgm:cxn modelId="{81C1F211-E4EF-42FA-95F6-5706A6FE1E73}" type="presOf" srcId="{2A8BDD8C-14B3-4240-BF0A-6041874F3528}" destId="{01645C7E-7696-4BEF-8323-E15903EA05D1}" srcOrd="0" destOrd="0" presId="urn:microsoft.com/office/officeart/2005/8/layout/vList2"/>
    <dgm:cxn modelId="{75133098-8E48-4169-9D12-3520CB495FF6}" type="presOf" srcId="{A75F727D-0F94-457F-B1A3-24BCC4BAD070}" destId="{6FBAE929-7FB3-4A51-9B33-40E57CB6BA57}" srcOrd="0" destOrd="0" presId="urn:microsoft.com/office/officeart/2005/8/layout/vList2"/>
    <dgm:cxn modelId="{6B366690-BA96-46FE-B25D-C420E06B6CFB}"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C049D14-3836-4BAD-B48F-FD29C3DB5266}">
      <dgm:prSet phldrT="[Text]" custT="1"/>
      <dgm:spPr/>
      <dgm:t>
        <a:bodyPr/>
        <a:lstStyle/>
        <a:p>
          <a:r>
            <a:rPr lang="en-US" sz="2000" dirty="0" smtClean="0">
              <a:solidFill>
                <a:srgbClr val="000000"/>
              </a:solidFill>
            </a:rPr>
            <a:t>Simple queries are and queries. </a:t>
          </a:r>
          <a:endParaRPr lang="en-US" sz="2000" dirty="0">
            <a:solidFill>
              <a:srgbClr val="000000"/>
            </a:solidFill>
          </a:endParaRPr>
        </a:p>
      </dgm:t>
    </dgm:pt>
    <dgm:pt modelId="{B5A04DB8-AB61-438C-8F11-9CBBA26ABC58}" type="parTrans" cxnId="{432BCE30-7985-49D8-B0D9-51FFE3825DC4}">
      <dgm:prSet/>
      <dgm:spPr/>
      <dgm:t>
        <a:bodyPr/>
        <a:lstStyle/>
        <a:p>
          <a:endParaRPr lang="en-US" sz="2000">
            <a:solidFill>
              <a:srgbClr val="000000"/>
            </a:solidFill>
          </a:endParaRPr>
        </a:p>
      </dgm:t>
    </dgm:pt>
    <dgm:pt modelId="{4E976FEB-48A0-4417-9CFB-037D006C70EA}" type="sibTrans" cxnId="{432BCE30-7985-49D8-B0D9-51FFE3825DC4}">
      <dgm:prSet/>
      <dgm:spPr/>
      <dgm:t>
        <a:bodyPr/>
        <a:lstStyle/>
        <a:p>
          <a:endParaRPr lang="en-US" sz="2000">
            <a:solidFill>
              <a:srgbClr val="000000"/>
            </a:solidFill>
          </a:endParaRPr>
        </a:p>
      </dgm:t>
    </dgm:pt>
    <dgm:pt modelId="{6AA185DD-6DB8-4A9E-82A8-4FFFDBE4B344}">
      <dgm:prSet custT="1"/>
      <dgm:spPr/>
      <dgm:t>
        <a:bodyPr/>
        <a:lstStyle/>
        <a:p>
          <a:r>
            <a:rPr lang="en-US" sz="2000" dirty="0" smtClean="0">
              <a:solidFill>
                <a:srgbClr val="000000"/>
              </a:solidFill>
            </a:rPr>
            <a:t>It can be used to query for any of the given values across single/multiple</a:t>
          </a:r>
        </a:p>
      </dgm:t>
    </dgm:pt>
    <dgm:pt modelId="{D5D470F3-B6EC-4BF1-A248-BD7FDD81C14B}" type="parTrans" cxnId="{61C0F21C-6BD5-4C25-A62D-68DE4C4060EA}">
      <dgm:prSet/>
      <dgm:spPr/>
      <dgm:t>
        <a:bodyPr/>
        <a:lstStyle/>
        <a:p>
          <a:endParaRPr lang="en-US" sz="2000">
            <a:solidFill>
              <a:srgbClr val="000000"/>
            </a:solidFill>
          </a:endParaRPr>
        </a:p>
      </dgm:t>
    </dgm:pt>
    <dgm:pt modelId="{EC188311-2781-4D15-9AE7-FA6ECC012179}" type="sibTrans" cxnId="{61C0F21C-6BD5-4C25-A62D-68DE4C4060EA}">
      <dgm:prSet/>
      <dgm:spPr/>
      <dgm:t>
        <a:bodyPr/>
        <a:lstStyle/>
        <a:p>
          <a:endParaRPr lang="en-US" sz="2000">
            <a:solidFill>
              <a:srgbClr val="000000"/>
            </a:solidFill>
          </a:endParaRPr>
        </a:p>
      </dgm:t>
    </dgm:pt>
    <dgm:pt modelId="{4F0ED606-6858-4BBF-996E-79AF58B18F38}">
      <dgm:prSet custT="1"/>
      <dgm:spPr/>
      <dgm:t>
        <a:bodyPr/>
        <a:lstStyle/>
        <a:p>
          <a:r>
            <a:rPr lang="en-US" sz="2000" dirty="0" smtClean="0">
              <a:solidFill>
                <a:srgbClr val="000000"/>
              </a:solidFill>
            </a:rPr>
            <a:t>&gt;db.employees.find({"address.city":"Pune","gender":"Male"}).pretty()</a:t>
          </a:r>
          <a:endParaRPr lang="en-US" sz="2000" dirty="0">
            <a:solidFill>
              <a:srgbClr val="000000"/>
            </a:solidFill>
          </a:endParaRPr>
        </a:p>
      </dgm:t>
    </dgm:pt>
    <dgm:pt modelId="{3E3A72A5-A60A-4FD2-8BAA-3A925D12507D}" type="parTrans" cxnId="{2CA0E7DC-67AB-4179-B651-5DB4C4DE7088}">
      <dgm:prSet/>
      <dgm:spPr/>
      <dgm:t>
        <a:bodyPr/>
        <a:lstStyle/>
        <a:p>
          <a:endParaRPr lang="en-US" sz="2000">
            <a:solidFill>
              <a:srgbClr val="000000"/>
            </a:solidFill>
          </a:endParaRPr>
        </a:p>
      </dgm:t>
    </dgm:pt>
    <dgm:pt modelId="{012B275F-7801-404D-BA29-10E69780C0D7}" type="sibTrans" cxnId="{2CA0E7DC-67AB-4179-B651-5DB4C4DE7088}">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F2DB9F1B-549C-42B0-933A-F14AAA4D5416}" type="pres">
      <dgm:prSet presAssocID="{6C049D14-3836-4BAD-B48F-FD29C3DB5266}" presName="parentText" presStyleLbl="node1" presStyleIdx="0" presStyleCnt="2" custScaleY="67169" custLinFactY="-3701" custLinFactNeighborY="-100000">
        <dgm:presLayoutVars>
          <dgm:chMax val="0"/>
          <dgm:bulletEnabled val="1"/>
        </dgm:presLayoutVars>
      </dgm:prSet>
      <dgm:spPr/>
      <dgm:t>
        <a:bodyPr/>
        <a:lstStyle/>
        <a:p>
          <a:endParaRPr lang="en-US"/>
        </a:p>
      </dgm:t>
    </dgm:pt>
    <dgm:pt modelId="{D354EC8A-C490-4BD3-A218-DF5AFD97746F}" type="pres">
      <dgm:prSet presAssocID="{4E976FEB-48A0-4417-9CFB-037D006C70EA}" presName="spacer" presStyleCnt="0"/>
      <dgm:spPr/>
    </dgm:pt>
    <dgm:pt modelId="{7048E3DC-1E50-441B-A7F3-9BD55095138F}" type="pres">
      <dgm:prSet presAssocID="{6AA185DD-6DB8-4A9E-82A8-4FFFDBE4B344}" presName="parentText" presStyleLbl="node1" presStyleIdx="1" presStyleCnt="2" custLinFactNeighborY="-21575">
        <dgm:presLayoutVars>
          <dgm:chMax val="0"/>
          <dgm:bulletEnabled val="1"/>
        </dgm:presLayoutVars>
      </dgm:prSet>
      <dgm:spPr/>
      <dgm:t>
        <a:bodyPr/>
        <a:lstStyle/>
        <a:p>
          <a:endParaRPr lang="en-US"/>
        </a:p>
      </dgm:t>
    </dgm:pt>
    <dgm:pt modelId="{45638B27-5C15-4DE3-A3A6-3EAC18FE7B26}" type="pres">
      <dgm:prSet presAssocID="{6AA185DD-6DB8-4A9E-82A8-4FFFDBE4B344}" presName="childText" presStyleLbl="revTx" presStyleIdx="0" presStyleCnt="1">
        <dgm:presLayoutVars>
          <dgm:bulletEnabled val="1"/>
        </dgm:presLayoutVars>
      </dgm:prSet>
      <dgm:spPr/>
      <dgm:t>
        <a:bodyPr/>
        <a:lstStyle/>
        <a:p>
          <a:endParaRPr lang="en-US"/>
        </a:p>
      </dgm:t>
    </dgm:pt>
  </dgm:ptLst>
  <dgm:cxnLst>
    <dgm:cxn modelId="{61C0F21C-6BD5-4C25-A62D-68DE4C4060EA}" srcId="{29B1402D-A153-4C5A-BE98-8D9F1780C5D8}" destId="{6AA185DD-6DB8-4A9E-82A8-4FFFDBE4B344}" srcOrd="1" destOrd="0" parTransId="{D5D470F3-B6EC-4BF1-A248-BD7FDD81C14B}" sibTransId="{EC188311-2781-4D15-9AE7-FA6ECC012179}"/>
    <dgm:cxn modelId="{972220E5-311B-4BF4-9909-549897A34B6B}" type="presOf" srcId="{6AA185DD-6DB8-4A9E-82A8-4FFFDBE4B344}" destId="{7048E3DC-1E50-441B-A7F3-9BD55095138F}" srcOrd="0" destOrd="0" presId="urn:microsoft.com/office/officeart/2005/8/layout/vList2"/>
    <dgm:cxn modelId="{CACFEE8E-D4DD-4B68-9C14-2B9D319F0C74}" type="presOf" srcId="{4F0ED606-6858-4BBF-996E-79AF58B18F38}" destId="{45638B27-5C15-4DE3-A3A6-3EAC18FE7B26}" srcOrd="0" destOrd="0" presId="urn:microsoft.com/office/officeart/2005/8/layout/vList2"/>
    <dgm:cxn modelId="{2CA0E7DC-67AB-4179-B651-5DB4C4DE7088}" srcId="{6AA185DD-6DB8-4A9E-82A8-4FFFDBE4B344}" destId="{4F0ED606-6858-4BBF-996E-79AF58B18F38}" srcOrd="0" destOrd="0" parTransId="{3E3A72A5-A60A-4FD2-8BAA-3A925D12507D}" sibTransId="{012B275F-7801-404D-BA29-10E69780C0D7}"/>
    <dgm:cxn modelId="{27D17F7B-A654-479F-BB5B-E359E91717E8}" type="presOf" srcId="{29B1402D-A153-4C5A-BE98-8D9F1780C5D8}" destId="{EA2E1B46-256E-4363-AF1A-0C8557BCBA36}" srcOrd="0" destOrd="0" presId="urn:microsoft.com/office/officeart/2005/8/layout/vList2"/>
    <dgm:cxn modelId="{432BCE30-7985-49D8-B0D9-51FFE3825DC4}" srcId="{29B1402D-A153-4C5A-BE98-8D9F1780C5D8}" destId="{6C049D14-3836-4BAD-B48F-FD29C3DB5266}" srcOrd="0" destOrd="0" parTransId="{B5A04DB8-AB61-438C-8F11-9CBBA26ABC58}" sibTransId="{4E976FEB-48A0-4417-9CFB-037D006C70EA}"/>
    <dgm:cxn modelId="{C7E413F1-1B32-475A-8283-41B45DA809E1}" type="presOf" srcId="{6C049D14-3836-4BAD-B48F-FD29C3DB5266}" destId="{F2DB9F1B-549C-42B0-933A-F14AAA4D5416}" srcOrd="0" destOrd="0" presId="urn:microsoft.com/office/officeart/2005/8/layout/vList2"/>
    <dgm:cxn modelId="{FCBAEE9C-73B7-4606-9B4E-FAB8D45EF094}" type="presParOf" srcId="{EA2E1B46-256E-4363-AF1A-0C8557BCBA36}" destId="{F2DB9F1B-549C-42B0-933A-F14AAA4D5416}" srcOrd="0" destOrd="0" presId="urn:microsoft.com/office/officeart/2005/8/layout/vList2"/>
    <dgm:cxn modelId="{D4F1A222-0196-433D-851F-5D0902174211}" type="presParOf" srcId="{EA2E1B46-256E-4363-AF1A-0C8557BCBA36}" destId="{D354EC8A-C490-4BD3-A218-DF5AFD97746F}" srcOrd="1" destOrd="0" presId="urn:microsoft.com/office/officeart/2005/8/layout/vList2"/>
    <dgm:cxn modelId="{1725ABF9-81A5-4FBA-A1D9-12A78B3C29CB}" type="presParOf" srcId="{EA2E1B46-256E-4363-AF1A-0C8557BCBA36}" destId="{7048E3DC-1E50-441B-A7F3-9BD55095138F}" srcOrd="2" destOrd="0" presId="urn:microsoft.com/office/officeart/2005/8/layout/vList2"/>
    <dgm:cxn modelId="{E138B0B8-9747-4AFF-BC54-A776808B8F12}" type="presParOf" srcId="{EA2E1B46-256E-4363-AF1A-0C8557BCBA36}" destId="{45638B27-5C15-4DE3-A3A6-3EAC18FE7B26}"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CFFC61-6B84-463F-A7DF-F2D3C7ABF699}" type="doc">
      <dgm:prSet loTypeId="urn:microsoft.com/office/officeart/2005/8/layout/matrix2" loCatId="matrix" qsTypeId="urn:microsoft.com/office/officeart/2005/8/quickstyle/simple1" qsCatId="simple" csTypeId="urn:microsoft.com/office/officeart/2005/8/colors/accent5_1" csCatId="accent5" phldr="1"/>
      <dgm:spPr/>
      <dgm:t>
        <a:bodyPr/>
        <a:lstStyle/>
        <a:p>
          <a:endParaRPr lang="en-US"/>
        </a:p>
      </dgm:t>
    </dgm:pt>
    <dgm:pt modelId="{25A96484-C62D-4523-88A0-6527B9461EB7}">
      <dgm:prSet phldrT="[Text]" custT="1"/>
      <dgm:spPr/>
      <dgm:t>
        <a:bodyPr/>
        <a:lstStyle/>
        <a:p>
          <a:pPr algn="l"/>
          <a:r>
            <a:rPr lang="en-US" sz="1600" dirty="0" smtClean="0"/>
            <a:t>&gt;db.employees.insert({firstname:"vaishali",lastname:"srivastava",})</a:t>
          </a:r>
          <a:endParaRPr lang="en-US" sz="1600" dirty="0"/>
        </a:p>
      </dgm:t>
    </dgm:pt>
    <dgm:pt modelId="{EE713F75-426C-45C2-9453-429B8316FA57}" type="parTrans" cxnId="{C1E75E34-C082-405E-B778-9D551A6778CA}">
      <dgm:prSet/>
      <dgm:spPr/>
      <dgm:t>
        <a:bodyPr/>
        <a:lstStyle/>
        <a:p>
          <a:endParaRPr lang="en-US" sz="1600"/>
        </a:p>
      </dgm:t>
    </dgm:pt>
    <dgm:pt modelId="{4BE8E698-A2E1-4B6F-B493-BF7B7ECBF254}" type="sibTrans" cxnId="{C1E75E34-C082-405E-B778-9D551A6778CA}">
      <dgm:prSet/>
      <dgm:spPr/>
      <dgm:t>
        <a:bodyPr/>
        <a:lstStyle/>
        <a:p>
          <a:endParaRPr lang="en-US" sz="1600"/>
        </a:p>
      </dgm:t>
    </dgm:pt>
    <dgm:pt modelId="{6860949C-922E-47E3-B95D-6B189591C5D9}">
      <dgm:prSet phldrT="[Text]" custT="1"/>
      <dgm:spPr/>
      <dgm:t>
        <a:bodyPr/>
        <a:lstStyle/>
        <a:p>
          <a:r>
            <a:rPr lang="hu-HU" sz="1500" dirty="0" smtClean="0">
              <a:latin typeface="Arial" pitchFamily="34" charset="0"/>
            </a:rPr>
            <a:t>&gt; db.</a:t>
          </a:r>
          <a:r>
            <a:rPr lang="en-US" sz="1500" dirty="0" smtClean="0">
              <a:latin typeface="Arial" pitchFamily="34" charset="0"/>
            </a:rPr>
            <a:t>employees</a:t>
          </a:r>
          <a:r>
            <a:rPr lang="hu-HU" sz="1500" dirty="0" smtClean="0">
              <a:latin typeface="Arial" pitchFamily="34" charset="0"/>
            </a:rPr>
            <a:t>.find ()</a:t>
          </a:r>
        </a:p>
        <a:p>
          <a:r>
            <a:rPr lang="en-US" sz="1500" dirty="0" smtClean="0">
              <a:latin typeface="Arial" pitchFamily="34" charset="0"/>
            </a:rPr>
            <a:t>{ </a:t>
          </a:r>
          <a:endParaRPr lang="hu-HU" sz="1500" dirty="0" smtClean="0">
            <a:latin typeface="Arial" pitchFamily="34" charset="0"/>
          </a:endParaRPr>
        </a:p>
        <a:p>
          <a:r>
            <a:rPr lang="en-US" sz="1500" b="1" dirty="0" smtClean="0">
              <a:latin typeface="Arial" pitchFamily="34" charset="0"/>
            </a:rPr>
            <a:t>"_id" :</a:t>
          </a:r>
          <a:r>
            <a:rPr lang="hu-HU" sz="1500" b="1" dirty="0" smtClean="0">
              <a:latin typeface="Arial" pitchFamily="34" charset="0"/>
            </a:rPr>
            <a:t> </a:t>
          </a:r>
          <a:r>
            <a:rPr lang="en-US" sz="1500" b="1" dirty="0" smtClean="0">
              <a:latin typeface="Arial" pitchFamily="34" charset="0"/>
            </a:rPr>
            <a:t>ObjectId("51</a:t>
          </a:r>
          <a:r>
            <a:rPr lang="hu-HU" sz="1500" b="1" dirty="0" smtClean="0">
              <a:latin typeface="Arial" pitchFamily="34" charset="0"/>
            </a:rPr>
            <a:t>…</a:t>
          </a:r>
          <a:r>
            <a:rPr lang="en-US" sz="1500" b="1" dirty="0" smtClean="0">
              <a:latin typeface="Arial" pitchFamily="34" charset="0"/>
            </a:rPr>
            <a:t>"),</a:t>
          </a:r>
        </a:p>
        <a:p>
          <a:r>
            <a:rPr lang="en-US" sz="1500" dirty="0" smtClean="0">
              <a:latin typeface="Arial" pitchFamily="34" charset="0"/>
            </a:rPr>
            <a:t>"firstname" : "John",</a:t>
          </a:r>
        </a:p>
        <a:p>
          <a:r>
            <a:rPr lang="en-US" sz="1500" dirty="0" smtClean="0">
              <a:latin typeface="Arial" pitchFamily="34" charset="0"/>
            </a:rPr>
            <a:t>"lastname" : "Doe",</a:t>
          </a:r>
          <a:endParaRPr lang="hu-HU" sz="1500" dirty="0" smtClean="0">
            <a:latin typeface="Arial" pitchFamily="34" charset="0"/>
          </a:endParaRPr>
        </a:p>
        <a:p>
          <a:r>
            <a:rPr lang="en-US" sz="1500" dirty="0" smtClean="0">
              <a:latin typeface="Arial" pitchFamily="34" charset="0"/>
            </a:rPr>
            <a:t>}</a:t>
          </a:r>
          <a:endParaRPr lang="en-US" sz="1500" dirty="0"/>
        </a:p>
      </dgm:t>
    </dgm:pt>
    <dgm:pt modelId="{5DC4AD82-C25D-4FC2-9135-5C8DBBBF82EF}" type="parTrans" cxnId="{3E80E03C-9E76-44A2-8741-58E0D06BF91D}">
      <dgm:prSet/>
      <dgm:spPr/>
      <dgm:t>
        <a:bodyPr/>
        <a:lstStyle/>
        <a:p>
          <a:endParaRPr lang="en-US" sz="1600"/>
        </a:p>
      </dgm:t>
    </dgm:pt>
    <dgm:pt modelId="{A1E826E8-6FF5-4F7C-A9E1-E5ACF7A2AF72}" type="sibTrans" cxnId="{3E80E03C-9E76-44A2-8741-58E0D06BF91D}">
      <dgm:prSet/>
      <dgm:spPr/>
      <dgm:t>
        <a:bodyPr/>
        <a:lstStyle/>
        <a:p>
          <a:endParaRPr lang="en-US" sz="1600"/>
        </a:p>
      </dgm:t>
    </dgm:pt>
    <dgm:pt modelId="{70EECBF3-44DA-41EC-83A5-C986F3BB80DE}">
      <dgm:prSet phldrT="[Text]" custT="1"/>
      <dgm:spPr/>
      <dgm:t>
        <a:bodyPr/>
        <a:lstStyle/>
        <a:p>
          <a:r>
            <a:rPr lang="hu-HU" sz="1400" dirty="0" smtClean="0">
              <a:latin typeface="Arial" pitchFamily="34" charset="0"/>
            </a:rPr>
            <a:t>&gt; db.</a:t>
          </a:r>
          <a:r>
            <a:rPr lang="en-US" sz="1400" dirty="0" smtClean="0">
              <a:latin typeface="Arial" pitchFamily="34" charset="0"/>
            </a:rPr>
            <a:t>employees</a:t>
          </a:r>
          <a:r>
            <a:rPr lang="hu-HU" sz="1400" dirty="0" smtClean="0">
              <a:latin typeface="Arial" pitchFamily="34" charset="0"/>
            </a:rPr>
            <a:t>.update(</a:t>
          </a:r>
        </a:p>
        <a:p>
          <a:r>
            <a:rPr lang="hu-HU" sz="1400" dirty="0" smtClean="0">
              <a:latin typeface="Arial" pitchFamily="34" charset="0"/>
            </a:rPr>
            <a:t>{"_id" : ObjectId("51…")},</a:t>
          </a:r>
        </a:p>
        <a:p>
          <a:r>
            <a:rPr lang="hu-HU" sz="1400" dirty="0" smtClean="0">
              <a:latin typeface="Arial" pitchFamily="34" charset="0"/>
            </a:rPr>
            <a:t>{</a:t>
          </a:r>
        </a:p>
        <a:p>
          <a:r>
            <a:rPr lang="hu-HU" sz="1400" b="1" dirty="0" smtClean="0">
              <a:latin typeface="Arial" pitchFamily="34" charset="0"/>
            </a:rPr>
            <a:t>$set</a:t>
          </a:r>
          <a:r>
            <a:rPr lang="hu-HU" sz="1400" dirty="0" smtClean="0">
              <a:latin typeface="Arial" pitchFamily="34" charset="0"/>
            </a:rPr>
            <a:t>: {</a:t>
          </a:r>
        </a:p>
        <a:p>
          <a:r>
            <a:rPr lang="hu-HU" sz="1400" dirty="0" smtClean="0">
              <a:latin typeface="Arial" pitchFamily="34" charset="0"/>
            </a:rPr>
            <a:t>age: 40,</a:t>
          </a:r>
        </a:p>
        <a:p>
          <a:r>
            <a:rPr lang="hu-HU" sz="1400" dirty="0" smtClean="0">
              <a:latin typeface="Arial" pitchFamily="34" charset="0"/>
            </a:rPr>
            <a:t>salary: 7000}</a:t>
          </a:r>
        </a:p>
        <a:p>
          <a:r>
            <a:rPr lang="hu-HU" sz="1400" dirty="0" smtClean="0">
              <a:latin typeface="Arial" pitchFamily="34" charset="0"/>
            </a:rPr>
            <a:t>}</a:t>
          </a:r>
        </a:p>
        <a:p>
          <a:r>
            <a:rPr lang="hu-HU" sz="1400" dirty="0" smtClean="0">
              <a:latin typeface="Arial" pitchFamily="34" charset="0"/>
            </a:rPr>
            <a:t>)</a:t>
          </a:r>
          <a:endParaRPr lang="en-US" sz="1400" dirty="0"/>
        </a:p>
      </dgm:t>
    </dgm:pt>
    <dgm:pt modelId="{52D040BC-2936-4626-A0EF-F5CD50E8FDD5}" type="parTrans" cxnId="{865CE9FF-693B-402A-B6E7-42C492B28569}">
      <dgm:prSet/>
      <dgm:spPr/>
      <dgm:t>
        <a:bodyPr/>
        <a:lstStyle/>
        <a:p>
          <a:endParaRPr lang="en-US" sz="1600"/>
        </a:p>
      </dgm:t>
    </dgm:pt>
    <dgm:pt modelId="{FE67A355-BA22-4500-8B03-82F341055C8B}" type="sibTrans" cxnId="{865CE9FF-693B-402A-B6E7-42C492B28569}">
      <dgm:prSet/>
      <dgm:spPr/>
      <dgm:t>
        <a:bodyPr/>
        <a:lstStyle/>
        <a:p>
          <a:endParaRPr lang="en-US" sz="1600"/>
        </a:p>
      </dgm:t>
    </dgm:pt>
    <dgm:pt modelId="{7A0BFEF0-BA5B-4FBA-BEAB-6F6FBF79B677}">
      <dgm:prSet phldrT="[Text]" custT="1"/>
      <dgm:spPr/>
      <dgm:t>
        <a:bodyPr/>
        <a:lstStyle/>
        <a:p>
          <a:r>
            <a:rPr lang="hu-HU" sz="1600" dirty="0" smtClean="0">
              <a:latin typeface="Arial" pitchFamily="34" charset="0"/>
            </a:rPr>
            <a:t>&gt; db.</a:t>
          </a:r>
          <a:r>
            <a:rPr lang="en-US" sz="1600" dirty="0" smtClean="0">
              <a:latin typeface="Arial" pitchFamily="34" charset="0"/>
            </a:rPr>
            <a:t>employees</a:t>
          </a:r>
          <a:r>
            <a:rPr lang="hu-HU" sz="1600" dirty="0" smtClean="0">
              <a:latin typeface="Arial" pitchFamily="34" charset="0"/>
            </a:rPr>
            <a:t>.remove({</a:t>
          </a:r>
        </a:p>
        <a:p>
          <a:r>
            <a:rPr lang="hu-HU" sz="1600" dirty="0" smtClean="0">
              <a:latin typeface="Arial" pitchFamily="34" charset="0"/>
            </a:rPr>
            <a:t>"first</a:t>
          </a:r>
          <a:r>
            <a:rPr lang="en-US" sz="1600" dirty="0" smtClean="0">
              <a:latin typeface="Arial" pitchFamily="34" charset="0"/>
            </a:rPr>
            <a:t>name</a:t>
          </a:r>
          <a:r>
            <a:rPr lang="hu-HU" sz="1600" dirty="0" smtClean="0">
              <a:latin typeface="Arial" pitchFamily="34" charset="0"/>
            </a:rPr>
            <a:t>": /^J/ </a:t>
          </a:r>
        </a:p>
        <a:p>
          <a:r>
            <a:rPr lang="hu-HU" sz="1600" dirty="0" smtClean="0">
              <a:latin typeface="Arial" pitchFamily="34" charset="0"/>
            </a:rPr>
            <a:t>})</a:t>
          </a:r>
          <a:endParaRPr lang="en-US" sz="1600" dirty="0"/>
        </a:p>
      </dgm:t>
    </dgm:pt>
    <dgm:pt modelId="{8ADAA89C-08ED-41B6-9206-DEFEA41C32DB}" type="parTrans" cxnId="{934839E4-CC49-4B05-844E-E113ACBEE979}">
      <dgm:prSet/>
      <dgm:spPr/>
      <dgm:t>
        <a:bodyPr/>
        <a:lstStyle/>
        <a:p>
          <a:endParaRPr lang="en-US" sz="1600"/>
        </a:p>
      </dgm:t>
    </dgm:pt>
    <dgm:pt modelId="{F3E7FD0A-CA65-48EC-B155-E204D6C4BEBD}" type="sibTrans" cxnId="{934839E4-CC49-4B05-844E-E113ACBEE979}">
      <dgm:prSet/>
      <dgm:spPr/>
      <dgm:t>
        <a:bodyPr/>
        <a:lstStyle/>
        <a:p>
          <a:endParaRPr lang="en-US" sz="1600"/>
        </a:p>
      </dgm:t>
    </dgm:pt>
    <dgm:pt modelId="{F5C8D97E-B9F7-4E7D-8907-65154BFEDF82}" type="pres">
      <dgm:prSet presAssocID="{44CFFC61-6B84-463F-A7DF-F2D3C7ABF699}" presName="matrix" presStyleCnt="0">
        <dgm:presLayoutVars>
          <dgm:chMax val="1"/>
          <dgm:dir/>
          <dgm:resizeHandles val="exact"/>
        </dgm:presLayoutVars>
      </dgm:prSet>
      <dgm:spPr/>
      <dgm:t>
        <a:bodyPr/>
        <a:lstStyle/>
        <a:p>
          <a:endParaRPr lang="en-US"/>
        </a:p>
      </dgm:t>
    </dgm:pt>
    <dgm:pt modelId="{0185D9DD-1980-4E97-BBC6-567B031792C4}" type="pres">
      <dgm:prSet presAssocID="{44CFFC61-6B84-463F-A7DF-F2D3C7ABF699}" presName="axisShape" presStyleLbl="bgShp" presStyleIdx="0" presStyleCnt="1"/>
      <dgm:spPr/>
    </dgm:pt>
    <dgm:pt modelId="{E1E67811-0F27-429F-9A5E-34C2E48F1909}" type="pres">
      <dgm:prSet presAssocID="{44CFFC61-6B84-463F-A7DF-F2D3C7ABF699}" presName="rect1" presStyleLbl="node1" presStyleIdx="0" presStyleCnt="4" custScaleX="206766" custScaleY="110697" custLinFactNeighborX="-42789" custLinFactNeighborY="-7551">
        <dgm:presLayoutVars>
          <dgm:chMax val="0"/>
          <dgm:chPref val="0"/>
          <dgm:bulletEnabled val="1"/>
        </dgm:presLayoutVars>
      </dgm:prSet>
      <dgm:spPr/>
      <dgm:t>
        <a:bodyPr/>
        <a:lstStyle/>
        <a:p>
          <a:endParaRPr lang="en-US"/>
        </a:p>
      </dgm:t>
    </dgm:pt>
    <dgm:pt modelId="{0F5CD659-3AC7-4494-BD11-539039890181}" type="pres">
      <dgm:prSet presAssocID="{44CFFC61-6B84-463F-A7DF-F2D3C7ABF699}" presName="rect2" presStyleLbl="node1" presStyleIdx="1" presStyleCnt="4" custScaleX="180120" custScaleY="110697" custLinFactNeighborX="42789" custLinFactNeighborY="-7551">
        <dgm:presLayoutVars>
          <dgm:chMax val="0"/>
          <dgm:chPref val="0"/>
          <dgm:bulletEnabled val="1"/>
        </dgm:presLayoutVars>
      </dgm:prSet>
      <dgm:spPr/>
      <dgm:t>
        <a:bodyPr/>
        <a:lstStyle/>
        <a:p>
          <a:endParaRPr lang="en-US"/>
        </a:p>
      </dgm:t>
    </dgm:pt>
    <dgm:pt modelId="{48D70518-6486-4EA2-A830-2ECC7AB5A970}" type="pres">
      <dgm:prSet presAssocID="{44CFFC61-6B84-463F-A7DF-F2D3C7ABF699}" presName="rect3" presStyleLbl="node1" presStyleIdx="2" presStyleCnt="4" custScaleX="177343" custScaleY="115511" custLinFactNeighborX="-42789" custLinFactNeighborY="7551">
        <dgm:presLayoutVars>
          <dgm:chMax val="0"/>
          <dgm:chPref val="0"/>
          <dgm:bulletEnabled val="1"/>
        </dgm:presLayoutVars>
      </dgm:prSet>
      <dgm:spPr/>
      <dgm:t>
        <a:bodyPr/>
        <a:lstStyle/>
        <a:p>
          <a:endParaRPr lang="en-US"/>
        </a:p>
      </dgm:t>
    </dgm:pt>
    <dgm:pt modelId="{B1249946-B4FD-4805-A48C-10084C7368AD}" type="pres">
      <dgm:prSet presAssocID="{44CFFC61-6B84-463F-A7DF-F2D3C7ABF699}" presName="rect4" presStyleLbl="node1" presStyleIdx="3" presStyleCnt="4" custScaleX="180120" custScaleY="115511" custLinFactNeighborX="42789" custLinFactNeighborY="7551">
        <dgm:presLayoutVars>
          <dgm:chMax val="0"/>
          <dgm:chPref val="0"/>
          <dgm:bulletEnabled val="1"/>
        </dgm:presLayoutVars>
      </dgm:prSet>
      <dgm:spPr/>
      <dgm:t>
        <a:bodyPr/>
        <a:lstStyle/>
        <a:p>
          <a:endParaRPr lang="en-US"/>
        </a:p>
      </dgm:t>
    </dgm:pt>
  </dgm:ptLst>
  <dgm:cxnLst>
    <dgm:cxn modelId="{934839E4-CC49-4B05-844E-E113ACBEE979}" srcId="{44CFFC61-6B84-463F-A7DF-F2D3C7ABF699}" destId="{7A0BFEF0-BA5B-4FBA-BEAB-6F6FBF79B677}" srcOrd="3" destOrd="0" parTransId="{8ADAA89C-08ED-41B6-9206-DEFEA41C32DB}" sibTransId="{F3E7FD0A-CA65-48EC-B155-E204D6C4BEBD}"/>
    <dgm:cxn modelId="{FC8746C5-7F2B-4A56-AF0B-E376AAFDB260}" type="presOf" srcId="{25A96484-C62D-4523-88A0-6527B9461EB7}" destId="{E1E67811-0F27-429F-9A5E-34C2E48F1909}" srcOrd="0" destOrd="0" presId="urn:microsoft.com/office/officeart/2005/8/layout/matrix2"/>
    <dgm:cxn modelId="{3E80E03C-9E76-44A2-8741-58E0D06BF91D}" srcId="{44CFFC61-6B84-463F-A7DF-F2D3C7ABF699}" destId="{6860949C-922E-47E3-B95D-6B189591C5D9}" srcOrd="1" destOrd="0" parTransId="{5DC4AD82-C25D-4FC2-9135-5C8DBBBF82EF}" sibTransId="{A1E826E8-6FF5-4F7C-A9E1-E5ACF7A2AF72}"/>
    <dgm:cxn modelId="{CA1AA0D7-0253-4CA3-87D6-731FCD817C12}" type="presOf" srcId="{70EECBF3-44DA-41EC-83A5-C986F3BB80DE}" destId="{48D70518-6486-4EA2-A830-2ECC7AB5A970}" srcOrd="0" destOrd="0" presId="urn:microsoft.com/office/officeart/2005/8/layout/matrix2"/>
    <dgm:cxn modelId="{597A7CBD-A863-403C-AF09-73855D589F39}" type="presOf" srcId="{7A0BFEF0-BA5B-4FBA-BEAB-6F6FBF79B677}" destId="{B1249946-B4FD-4805-A48C-10084C7368AD}" srcOrd="0" destOrd="0" presId="urn:microsoft.com/office/officeart/2005/8/layout/matrix2"/>
    <dgm:cxn modelId="{C1E75E34-C082-405E-B778-9D551A6778CA}" srcId="{44CFFC61-6B84-463F-A7DF-F2D3C7ABF699}" destId="{25A96484-C62D-4523-88A0-6527B9461EB7}" srcOrd="0" destOrd="0" parTransId="{EE713F75-426C-45C2-9453-429B8316FA57}" sibTransId="{4BE8E698-A2E1-4B6F-B493-BF7B7ECBF254}"/>
    <dgm:cxn modelId="{865CE9FF-693B-402A-B6E7-42C492B28569}" srcId="{44CFFC61-6B84-463F-A7DF-F2D3C7ABF699}" destId="{70EECBF3-44DA-41EC-83A5-C986F3BB80DE}" srcOrd="2" destOrd="0" parTransId="{52D040BC-2936-4626-A0EF-F5CD50E8FDD5}" sibTransId="{FE67A355-BA22-4500-8B03-82F341055C8B}"/>
    <dgm:cxn modelId="{30D9B073-310F-4F45-BE10-DD1DD9663CE5}" type="presOf" srcId="{6860949C-922E-47E3-B95D-6B189591C5D9}" destId="{0F5CD659-3AC7-4494-BD11-539039890181}" srcOrd="0" destOrd="0" presId="urn:microsoft.com/office/officeart/2005/8/layout/matrix2"/>
    <dgm:cxn modelId="{FE2735D3-3CE1-40B5-8361-60102CBD9C2D}" type="presOf" srcId="{44CFFC61-6B84-463F-A7DF-F2D3C7ABF699}" destId="{F5C8D97E-B9F7-4E7D-8907-65154BFEDF82}" srcOrd="0" destOrd="0" presId="urn:microsoft.com/office/officeart/2005/8/layout/matrix2"/>
    <dgm:cxn modelId="{30E740DA-85A1-48E3-9065-3E9C273D3F09}" type="presParOf" srcId="{F5C8D97E-B9F7-4E7D-8907-65154BFEDF82}" destId="{0185D9DD-1980-4E97-BBC6-567B031792C4}" srcOrd="0" destOrd="0" presId="urn:microsoft.com/office/officeart/2005/8/layout/matrix2"/>
    <dgm:cxn modelId="{708AE182-E54B-4501-8F39-1F08488F94FB}" type="presParOf" srcId="{F5C8D97E-B9F7-4E7D-8907-65154BFEDF82}" destId="{E1E67811-0F27-429F-9A5E-34C2E48F1909}" srcOrd="1" destOrd="0" presId="urn:microsoft.com/office/officeart/2005/8/layout/matrix2"/>
    <dgm:cxn modelId="{89335EF8-C95A-43C9-B70B-929B86F9251F}" type="presParOf" srcId="{F5C8D97E-B9F7-4E7D-8907-65154BFEDF82}" destId="{0F5CD659-3AC7-4494-BD11-539039890181}" srcOrd="2" destOrd="0" presId="urn:microsoft.com/office/officeart/2005/8/layout/matrix2"/>
    <dgm:cxn modelId="{8559FD26-EF05-484A-9FBA-7EF801AB38DB}" type="presParOf" srcId="{F5C8D97E-B9F7-4E7D-8907-65154BFEDF82}" destId="{48D70518-6486-4EA2-A830-2ECC7AB5A970}" srcOrd="3" destOrd="0" presId="urn:microsoft.com/office/officeart/2005/8/layout/matrix2"/>
    <dgm:cxn modelId="{6C6EBA2D-7748-42F8-AF2A-749169CB717A}" type="presParOf" srcId="{F5C8D97E-B9F7-4E7D-8907-65154BFEDF82}" destId="{B1249946-B4FD-4805-A48C-10084C7368AD}" srcOrd="4" destOrd="0" presId="urn:microsoft.com/office/officeart/2005/8/layout/matrix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query data from MongoDB collection, you need to use MongoDB's </a:t>
          </a:r>
          <a:r>
            <a:rPr lang="en-US" sz="2000" b="1" dirty="0" smtClean="0">
              <a:solidFill>
                <a:srgbClr val="000000"/>
              </a:solidFill>
            </a:rPr>
            <a:t>find()</a:t>
          </a:r>
          <a:r>
            <a:rPr lang="en-US" sz="2000" dirty="0" smtClean="0">
              <a:solidFill>
                <a:srgbClr val="000000"/>
              </a:solidFill>
            </a:rPr>
            <a:t>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35677D97-56C0-4429-B64C-8AD8D4F8A3A9}">
      <dgm:prSet custT="1"/>
      <dgm:spPr/>
      <dgm:t>
        <a:bodyPr/>
        <a:lstStyle/>
        <a:p>
          <a:r>
            <a:rPr lang="en-US" sz="2000" dirty="0" smtClean="0">
              <a:solidFill>
                <a:srgbClr val="000000"/>
              </a:solidFill>
            </a:rPr>
            <a:t>Basic syntax of </a:t>
          </a:r>
          <a:r>
            <a:rPr lang="en-US" sz="2000" b="1" dirty="0" smtClean="0">
              <a:solidFill>
                <a:srgbClr val="000000"/>
              </a:solidFill>
            </a:rPr>
            <a:t>find()</a:t>
          </a:r>
          <a:r>
            <a:rPr lang="en-US" sz="2000" dirty="0" smtClean="0">
              <a:solidFill>
                <a:srgbClr val="000000"/>
              </a:solidFill>
            </a:rPr>
            <a:t> method is as follows </a:t>
          </a:r>
        </a:p>
      </dgm:t>
    </dgm:pt>
    <dgm:pt modelId="{82DCAB00-D62D-46C3-AEFE-B18AC2EF8017}" type="parTrans" cxnId="{6E88542A-168C-4841-A745-7899BC5B7DD7}">
      <dgm:prSet/>
      <dgm:spPr/>
      <dgm:t>
        <a:bodyPr/>
        <a:lstStyle/>
        <a:p>
          <a:endParaRPr lang="en-US" sz="2000">
            <a:solidFill>
              <a:srgbClr val="000000"/>
            </a:solidFill>
          </a:endParaRPr>
        </a:p>
      </dgm:t>
    </dgm:pt>
    <dgm:pt modelId="{DC5A0316-2F69-444E-81F3-52D2DE456768}" type="sibTrans" cxnId="{6E88542A-168C-4841-A745-7899BC5B7DD7}">
      <dgm:prSet/>
      <dgm:spPr/>
      <dgm:t>
        <a:bodyPr/>
        <a:lstStyle/>
        <a:p>
          <a:endParaRPr lang="en-US" sz="2000">
            <a:solidFill>
              <a:srgbClr val="000000"/>
            </a:solidFill>
          </a:endParaRPr>
        </a:p>
      </dgm:t>
    </dgm:pt>
    <dgm:pt modelId="{43F84C36-33C1-42E1-A787-D59F1329668C}">
      <dgm:prSet custT="1"/>
      <dgm:spPr/>
      <dgm:t>
        <a:bodyPr/>
        <a:lstStyle/>
        <a:p>
          <a:r>
            <a:rPr lang="en-US" sz="2000" dirty="0" smtClean="0">
              <a:solidFill>
                <a:srgbClr val="000000"/>
              </a:solidFill>
            </a:rPr>
            <a:t>&gt;db.COLLECTION_NAME.find() </a:t>
          </a:r>
          <a:r>
            <a:rPr lang="en-US" sz="2000" b="1" dirty="0" smtClean="0">
              <a:solidFill>
                <a:srgbClr val="000000"/>
              </a:solidFill>
            </a:rPr>
            <a:t>find() </a:t>
          </a:r>
          <a:r>
            <a:rPr lang="en-US" sz="2000" dirty="0" smtClean="0">
              <a:solidFill>
                <a:srgbClr val="000000"/>
              </a:solidFill>
            </a:rPr>
            <a:t>method will display all the documents in a non structured way </a:t>
          </a:r>
        </a:p>
      </dgm:t>
    </dgm:pt>
    <dgm:pt modelId="{D7136CEC-4077-46D4-BA56-EE44D1B5C760}" type="parTrans" cxnId="{91881701-5F66-4A05-ACCE-482B8021BF16}">
      <dgm:prSet/>
      <dgm:spPr/>
      <dgm:t>
        <a:bodyPr/>
        <a:lstStyle/>
        <a:p>
          <a:endParaRPr lang="en-US" sz="2000">
            <a:solidFill>
              <a:srgbClr val="000000"/>
            </a:solidFill>
          </a:endParaRPr>
        </a:p>
      </dgm:t>
    </dgm:pt>
    <dgm:pt modelId="{BCA4CA64-E897-4626-B399-29F2D170D6FA}" type="sibTrans" cxnId="{91881701-5F66-4A05-ACCE-482B8021BF16}">
      <dgm:prSet/>
      <dgm:spPr/>
      <dgm:t>
        <a:bodyPr/>
        <a:lstStyle/>
        <a:p>
          <a:endParaRPr lang="en-US" sz="2000">
            <a:solidFill>
              <a:srgbClr val="000000"/>
            </a:solidFill>
          </a:endParaRPr>
        </a:p>
      </dgm:t>
    </dgm:pt>
    <dgm:pt modelId="{B71A7BB2-BC3C-4626-880D-9B66E061E723}">
      <dgm:prSet custT="1"/>
      <dgm:spPr/>
      <dgm:t>
        <a:bodyPr/>
        <a:lstStyle/>
        <a:p>
          <a:r>
            <a:rPr lang="en-US" sz="2000" dirty="0" smtClean="0">
              <a:solidFill>
                <a:srgbClr val="000000"/>
              </a:solidFill>
            </a:rPr>
            <a:t>The pretty() Method </a:t>
          </a:r>
        </a:p>
      </dgm:t>
    </dgm:pt>
    <dgm:pt modelId="{9B13A470-B57A-415D-B671-9630A2B40343}" type="parTrans" cxnId="{C6DF987D-AA06-4746-B16F-35CCCB3E7AB0}">
      <dgm:prSet/>
      <dgm:spPr/>
      <dgm:t>
        <a:bodyPr/>
        <a:lstStyle/>
        <a:p>
          <a:endParaRPr lang="en-US" sz="2000">
            <a:solidFill>
              <a:srgbClr val="000000"/>
            </a:solidFill>
          </a:endParaRPr>
        </a:p>
      </dgm:t>
    </dgm:pt>
    <dgm:pt modelId="{BE5CACCD-33F7-4510-81B8-25C597E16C6C}" type="sibTrans" cxnId="{C6DF987D-AA06-4746-B16F-35CCCB3E7AB0}">
      <dgm:prSet/>
      <dgm:spPr/>
      <dgm:t>
        <a:bodyPr/>
        <a:lstStyle/>
        <a:p>
          <a:endParaRPr lang="en-US" sz="2000">
            <a:solidFill>
              <a:srgbClr val="000000"/>
            </a:solidFill>
          </a:endParaRPr>
        </a:p>
      </dgm:t>
    </dgm:pt>
    <dgm:pt modelId="{1D882370-3F5E-45CF-8669-00B94C402078}">
      <dgm:prSet custT="1"/>
      <dgm:spPr/>
      <dgm:t>
        <a:bodyPr/>
        <a:lstStyle/>
        <a:p>
          <a:r>
            <a:rPr lang="en-US" sz="2000" dirty="0" smtClean="0">
              <a:solidFill>
                <a:srgbClr val="000000"/>
              </a:solidFill>
            </a:rPr>
            <a:t>To display the results in a formatted way, you can use </a:t>
          </a:r>
          <a:r>
            <a:rPr lang="en-US" sz="2000" b="1" dirty="0" smtClean="0">
              <a:solidFill>
                <a:srgbClr val="000000"/>
              </a:solidFill>
            </a:rPr>
            <a:t>pretty()</a:t>
          </a:r>
          <a:r>
            <a:rPr lang="en-US" sz="2000" dirty="0" smtClean="0">
              <a:solidFill>
                <a:srgbClr val="000000"/>
              </a:solidFill>
            </a:rPr>
            <a:t> method</a:t>
          </a:r>
        </a:p>
      </dgm:t>
    </dgm:pt>
    <dgm:pt modelId="{D522EADD-EEAE-4694-A8B5-86F749D503AA}" type="parTrans" cxnId="{A0F67450-ABE3-4CE1-96B0-64EA34E0BE67}">
      <dgm:prSet/>
      <dgm:spPr/>
      <dgm:t>
        <a:bodyPr/>
        <a:lstStyle/>
        <a:p>
          <a:endParaRPr lang="en-US" sz="2000">
            <a:solidFill>
              <a:srgbClr val="000000"/>
            </a:solidFill>
          </a:endParaRPr>
        </a:p>
      </dgm:t>
    </dgm:pt>
    <dgm:pt modelId="{F03AE4CF-5550-44F2-B165-1F0562E6C838}" type="sibTrans" cxnId="{A0F67450-ABE3-4CE1-96B0-64EA34E0BE67}">
      <dgm:prSet/>
      <dgm:spPr/>
      <dgm:t>
        <a:bodyPr/>
        <a:lstStyle/>
        <a:p>
          <a:endParaRPr lang="en-US" sz="2000">
            <a:solidFill>
              <a:srgbClr val="000000"/>
            </a:solidFill>
          </a:endParaRPr>
        </a:p>
      </dgm:t>
    </dgm:pt>
    <dgm:pt modelId="{EE396983-739F-41CF-AF84-F6855A3D1F89}">
      <dgm:prSet custT="1"/>
      <dgm:spPr/>
      <dgm:t>
        <a:bodyPr/>
        <a:lstStyle/>
        <a:p>
          <a:r>
            <a:rPr lang="en-US" sz="2000" dirty="0" smtClean="0">
              <a:solidFill>
                <a:srgbClr val="000000"/>
              </a:solidFill>
            </a:rPr>
            <a:t>db.employees.find().pretty()</a:t>
          </a:r>
        </a:p>
      </dgm:t>
    </dgm:pt>
    <dgm:pt modelId="{776B5F9C-6CDB-4B07-A62D-6DFCE120B3F2}" type="parTrans" cxnId="{E9468BD1-5595-46DB-978D-831C9F0A00D6}">
      <dgm:prSet/>
      <dgm:spPr/>
      <dgm:t>
        <a:bodyPr/>
        <a:lstStyle/>
        <a:p>
          <a:endParaRPr lang="en-US" sz="2000">
            <a:solidFill>
              <a:srgbClr val="000000"/>
            </a:solidFill>
          </a:endParaRPr>
        </a:p>
      </dgm:t>
    </dgm:pt>
    <dgm:pt modelId="{6224D153-301A-452F-89D7-4D2BA5ACA8EB}" type="sibTrans" cxnId="{E9468BD1-5595-46DB-978D-831C9F0A00D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5C8D3922-7491-4869-B6D4-3D14BBC03865}" type="pres">
      <dgm:prSet presAssocID="{F03A470E-D788-4E8C-8198-3EC2B90C12B1}" presName="spacer" presStyleCnt="0"/>
      <dgm:spPr/>
    </dgm:pt>
    <dgm:pt modelId="{0E9DFD3A-D91B-4E1E-BAD7-C44B30D1A940}" type="pres">
      <dgm:prSet presAssocID="{35677D97-56C0-4429-B64C-8AD8D4F8A3A9}" presName="parentText" presStyleLbl="node1" presStyleIdx="1" presStyleCnt="5">
        <dgm:presLayoutVars>
          <dgm:chMax val="0"/>
          <dgm:bulletEnabled val="1"/>
        </dgm:presLayoutVars>
      </dgm:prSet>
      <dgm:spPr/>
      <dgm:t>
        <a:bodyPr/>
        <a:lstStyle/>
        <a:p>
          <a:endParaRPr lang="en-US"/>
        </a:p>
      </dgm:t>
    </dgm:pt>
    <dgm:pt modelId="{F8507745-665F-4B75-AF18-0C7A9F36FFEE}" type="pres">
      <dgm:prSet presAssocID="{DC5A0316-2F69-444E-81F3-52D2DE456768}" presName="spacer" presStyleCnt="0"/>
      <dgm:spPr/>
    </dgm:pt>
    <dgm:pt modelId="{8C597AE3-61AC-4795-B215-7CCBD059428E}" type="pres">
      <dgm:prSet presAssocID="{43F84C36-33C1-42E1-A787-D59F1329668C}" presName="parentText" presStyleLbl="node1" presStyleIdx="2" presStyleCnt="5">
        <dgm:presLayoutVars>
          <dgm:chMax val="0"/>
          <dgm:bulletEnabled val="1"/>
        </dgm:presLayoutVars>
      </dgm:prSet>
      <dgm:spPr/>
      <dgm:t>
        <a:bodyPr/>
        <a:lstStyle/>
        <a:p>
          <a:endParaRPr lang="en-US"/>
        </a:p>
      </dgm:t>
    </dgm:pt>
    <dgm:pt modelId="{980AEEC7-9253-4EC9-B443-B5F9AB72B514}" type="pres">
      <dgm:prSet presAssocID="{BCA4CA64-E897-4626-B399-29F2D170D6FA}" presName="spacer" presStyleCnt="0"/>
      <dgm:spPr/>
    </dgm:pt>
    <dgm:pt modelId="{7304EE3F-7410-47F5-8EF6-0724A85EC250}" type="pres">
      <dgm:prSet presAssocID="{B71A7BB2-BC3C-4626-880D-9B66E061E723}" presName="parentText" presStyleLbl="node1" presStyleIdx="3" presStyleCnt="5">
        <dgm:presLayoutVars>
          <dgm:chMax val="0"/>
          <dgm:bulletEnabled val="1"/>
        </dgm:presLayoutVars>
      </dgm:prSet>
      <dgm:spPr/>
      <dgm:t>
        <a:bodyPr/>
        <a:lstStyle/>
        <a:p>
          <a:endParaRPr lang="en-US"/>
        </a:p>
      </dgm:t>
    </dgm:pt>
    <dgm:pt modelId="{5C28915F-61B3-41DF-AE3E-862A69EF3117}" type="pres">
      <dgm:prSet presAssocID="{BE5CACCD-33F7-4510-81B8-25C597E16C6C}" presName="spacer" presStyleCnt="0"/>
      <dgm:spPr/>
    </dgm:pt>
    <dgm:pt modelId="{11D6B7C9-27C8-421B-A251-1EE07ED4D5CD}" type="pres">
      <dgm:prSet presAssocID="{1D882370-3F5E-45CF-8669-00B94C402078}" presName="parentText" presStyleLbl="node1" presStyleIdx="4" presStyleCnt="5">
        <dgm:presLayoutVars>
          <dgm:chMax val="0"/>
          <dgm:bulletEnabled val="1"/>
        </dgm:presLayoutVars>
      </dgm:prSet>
      <dgm:spPr/>
      <dgm:t>
        <a:bodyPr/>
        <a:lstStyle/>
        <a:p>
          <a:endParaRPr lang="en-US"/>
        </a:p>
      </dgm:t>
    </dgm:pt>
    <dgm:pt modelId="{62973A58-6EFD-480D-BE21-7031EED48A6E}" type="pres">
      <dgm:prSet presAssocID="{1D882370-3F5E-45CF-8669-00B94C402078}" presName="childText" presStyleLbl="revTx" presStyleIdx="0" presStyleCnt="1">
        <dgm:presLayoutVars>
          <dgm:bulletEnabled val="1"/>
        </dgm:presLayoutVars>
      </dgm:prSet>
      <dgm:spPr/>
      <dgm:t>
        <a:bodyPr/>
        <a:lstStyle/>
        <a:p>
          <a:endParaRPr lang="en-US"/>
        </a:p>
      </dgm:t>
    </dgm:pt>
  </dgm:ptLst>
  <dgm:cxnLst>
    <dgm:cxn modelId="{9061C680-CBE7-4E30-B760-CBAA6CBAD57C}" type="presOf" srcId="{01B48101-CFA8-4641-83C7-B22F9ABEB30B}" destId="{A77B38D6-8EF8-4F56-B969-6807478B1038}" srcOrd="0" destOrd="0" presId="urn:microsoft.com/office/officeart/2005/8/layout/vList2"/>
    <dgm:cxn modelId="{567E2123-03D7-46E9-9DA0-7D43399717A1}" type="presOf" srcId="{EE396983-739F-41CF-AF84-F6855A3D1F89}" destId="{62973A58-6EFD-480D-BE21-7031EED48A6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6E88542A-168C-4841-A745-7899BC5B7DD7}" srcId="{29B1402D-A153-4C5A-BE98-8D9F1780C5D8}" destId="{35677D97-56C0-4429-B64C-8AD8D4F8A3A9}" srcOrd="1" destOrd="0" parTransId="{82DCAB00-D62D-46C3-AEFE-B18AC2EF8017}" sibTransId="{DC5A0316-2F69-444E-81F3-52D2DE456768}"/>
    <dgm:cxn modelId="{705E928B-EA1D-4D08-8C5A-D2E0CAE48C84}" type="presOf" srcId="{1D882370-3F5E-45CF-8669-00B94C402078}" destId="{11D6B7C9-27C8-421B-A251-1EE07ED4D5CD}" srcOrd="0" destOrd="0" presId="urn:microsoft.com/office/officeart/2005/8/layout/vList2"/>
    <dgm:cxn modelId="{7DF0B3A3-0039-419F-AFB6-D88639DF5095}" type="presOf" srcId="{B71A7BB2-BC3C-4626-880D-9B66E061E723}" destId="{7304EE3F-7410-47F5-8EF6-0724A85EC250}" srcOrd="0" destOrd="0" presId="urn:microsoft.com/office/officeart/2005/8/layout/vList2"/>
    <dgm:cxn modelId="{E9468BD1-5595-46DB-978D-831C9F0A00D6}" srcId="{1D882370-3F5E-45CF-8669-00B94C402078}" destId="{EE396983-739F-41CF-AF84-F6855A3D1F89}" srcOrd="0" destOrd="0" parTransId="{776B5F9C-6CDB-4B07-A62D-6DFCE120B3F2}" sibTransId="{6224D153-301A-452F-89D7-4D2BA5ACA8EB}"/>
    <dgm:cxn modelId="{A0F67450-ABE3-4CE1-96B0-64EA34E0BE67}" srcId="{29B1402D-A153-4C5A-BE98-8D9F1780C5D8}" destId="{1D882370-3F5E-45CF-8669-00B94C402078}" srcOrd="4" destOrd="0" parTransId="{D522EADD-EEAE-4694-A8B5-86F749D503AA}" sibTransId="{F03AE4CF-5550-44F2-B165-1F0562E6C838}"/>
    <dgm:cxn modelId="{91881701-5F66-4A05-ACCE-482B8021BF16}" srcId="{29B1402D-A153-4C5A-BE98-8D9F1780C5D8}" destId="{43F84C36-33C1-42E1-A787-D59F1329668C}" srcOrd="2" destOrd="0" parTransId="{D7136CEC-4077-46D4-BA56-EE44D1B5C760}" sibTransId="{BCA4CA64-E897-4626-B399-29F2D170D6FA}"/>
    <dgm:cxn modelId="{F9A6DE52-23CE-457A-8FA6-1AAAC144B929}" type="presOf" srcId="{43F84C36-33C1-42E1-A787-D59F1329668C}" destId="{8C597AE3-61AC-4795-B215-7CCBD059428E}" srcOrd="0" destOrd="0" presId="urn:microsoft.com/office/officeart/2005/8/layout/vList2"/>
    <dgm:cxn modelId="{B45B793B-6067-458C-813E-260152B9C4A2}" type="presOf" srcId="{35677D97-56C0-4429-B64C-8AD8D4F8A3A9}" destId="{0E9DFD3A-D91B-4E1E-BAD7-C44B30D1A940}" srcOrd="0" destOrd="0" presId="urn:microsoft.com/office/officeart/2005/8/layout/vList2"/>
    <dgm:cxn modelId="{C6DF987D-AA06-4746-B16F-35CCCB3E7AB0}" srcId="{29B1402D-A153-4C5A-BE98-8D9F1780C5D8}" destId="{B71A7BB2-BC3C-4626-880D-9B66E061E723}" srcOrd="3" destOrd="0" parTransId="{9B13A470-B57A-415D-B671-9630A2B40343}" sibTransId="{BE5CACCD-33F7-4510-81B8-25C597E16C6C}"/>
    <dgm:cxn modelId="{2650B9DE-BDCE-487E-96D1-48E584DFD0D3}" type="presOf" srcId="{29B1402D-A153-4C5A-BE98-8D9F1780C5D8}" destId="{EA2E1B46-256E-4363-AF1A-0C8557BCBA36}" srcOrd="0" destOrd="0" presId="urn:microsoft.com/office/officeart/2005/8/layout/vList2"/>
    <dgm:cxn modelId="{900D0227-2EE6-49FE-9DF1-D284B09D21C4}" type="presParOf" srcId="{EA2E1B46-256E-4363-AF1A-0C8557BCBA36}" destId="{A77B38D6-8EF8-4F56-B969-6807478B1038}" srcOrd="0" destOrd="0" presId="urn:microsoft.com/office/officeart/2005/8/layout/vList2"/>
    <dgm:cxn modelId="{978A9C89-5313-4BB7-A4ED-8933B2376478}" type="presParOf" srcId="{EA2E1B46-256E-4363-AF1A-0C8557BCBA36}" destId="{5C8D3922-7491-4869-B6D4-3D14BBC03865}" srcOrd="1" destOrd="0" presId="urn:microsoft.com/office/officeart/2005/8/layout/vList2"/>
    <dgm:cxn modelId="{C2AD4808-FC91-49CD-99D1-D3DBB2122609}" type="presParOf" srcId="{EA2E1B46-256E-4363-AF1A-0C8557BCBA36}" destId="{0E9DFD3A-D91B-4E1E-BAD7-C44B30D1A940}" srcOrd="2" destOrd="0" presId="urn:microsoft.com/office/officeart/2005/8/layout/vList2"/>
    <dgm:cxn modelId="{63D33008-9015-4908-BE81-114578D7BEFF}" type="presParOf" srcId="{EA2E1B46-256E-4363-AF1A-0C8557BCBA36}" destId="{F8507745-665F-4B75-AF18-0C7A9F36FFEE}" srcOrd="3" destOrd="0" presId="urn:microsoft.com/office/officeart/2005/8/layout/vList2"/>
    <dgm:cxn modelId="{553BC4BE-35BA-4F86-996B-1C086AB8A8C7}" type="presParOf" srcId="{EA2E1B46-256E-4363-AF1A-0C8557BCBA36}" destId="{8C597AE3-61AC-4795-B215-7CCBD059428E}" srcOrd="4" destOrd="0" presId="urn:microsoft.com/office/officeart/2005/8/layout/vList2"/>
    <dgm:cxn modelId="{B074CB59-C60D-457A-8360-035FEBEC69F0}" type="presParOf" srcId="{EA2E1B46-256E-4363-AF1A-0C8557BCBA36}" destId="{980AEEC7-9253-4EC9-B443-B5F9AB72B514}" srcOrd="5" destOrd="0" presId="urn:microsoft.com/office/officeart/2005/8/layout/vList2"/>
    <dgm:cxn modelId="{6BC5CC0C-A12B-4D46-B760-FAC694A4A406}" type="presParOf" srcId="{EA2E1B46-256E-4363-AF1A-0C8557BCBA36}" destId="{7304EE3F-7410-47F5-8EF6-0724A85EC250}" srcOrd="6" destOrd="0" presId="urn:microsoft.com/office/officeart/2005/8/layout/vList2"/>
    <dgm:cxn modelId="{E0DAE147-DB86-4862-B273-DA7932238474}" type="presParOf" srcId="{EA2E1B46-256E-4363-AF1A-0C8557BCBA36}" destId="{5C28915F-61B3-41DF-AE3E-862A69EF3117}" srcOrd="7" destOrd="0" presId="urn:microsoft.com/office/officeart/2005/8/layout/vList2"/>
    <dgm:cxn modelId="{799C68B6-729A-42AE-90E2-0D134B88A30E}" type="presParOf" srcId="{EA2E1B46-256E-4363-AF1A-0C8557BCBA36}" destId="{11D6B7C9-27C8-421B-A251-1EE07ED4D5CD}" srcOrd="8" destOrd="0" presId="urn:microsoft.com/office/officeart/2005/8/layout/vList2"/>
    <dgm:cxn modelId="{B7DA5AC4-423E-4027-A823-A9AF56358087}" type="presParOf" srcId="{EA2E1B46-256E-4363-AF1A-0C8557BCBA36}" destId="{62973A58-6EFD-480D-BE21-7031EED48A6E}" srcOrd="9"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b="1" dirty="0" smtClean="0">
              <a:solidFill>
                <a:srgbClr val="000000"/>
              </a:solidFill>
            </a:rPr>
            <a:t>The find()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299532A-0AC8-49B6-9356-EE928C59A28A}">
      <dgm:prSet custT="1"/>
      <dgm:spPr/>
      <dgm:t>
        <a:bodyPr/>
        <a:lstStyle/>
        <a:p>
          <a:r>
            <a:rPr lang="en-US" sz="2000" dirty="0" smtClean="0">
              <a:solidFill>
                <a:srgbClr val="000000"/>
              </a:solidFill>
            </a:rPr>
            <a:t>In MongoDB when you execute </a:t>
          </a:r>
          <a:r>
            <a:rPr lang="en-US" sz="2000" b="1" dirty="0" smtClean="0">
              <a:solidFill>
                <a:srgbClr val="000000"/>
              </a:solidFill>
            </a:rPr>
            <a:t>find()</a:t>
          </a:r>
          <a:r>
            <a:rPr lang="en-US" sz="2000" dirty="0" smtClean="0">
              <a:solidFill>
                <a:srgbClr val="000000"/>
              </a:solidFill>
            </a:rPr>
            <a:t> method, then it displays all fields of a document. To limit this you need to set list of fields with value 1 or 0. 1 is used to show the field  while 0 is used to hide the field.</a:t>
          </a:r>
        </a:p>
      </dgm:t>
    </dgm:pt>
    <dgm:pt modelId="{A0C1EEBB-B18C-41C3-86E7-89C92A818561}" type="parTrans" cxnId="{43A460B9-B68B-4899-8059-AFAE54D138CD}">
      <dgm:prSet/>
      <dgm:spPr/>
      <dgm:t>
        <a:bodyPr/>
        <a:lstStyle/>
        <a:p>
          <a:endParaRPr lang="en-US" sz="2000">
            <a:solidFill>
              <a:srgbClr val="000000"/>
            </a:solidFill>
          </a:endParaRPr>
        </a:p>
      </dgm:t>
    </dgm:pt>
    <dgm:pt modelId="{2F7B3D53-BFE2-464D-B70E-71319CA52884}" type="sibTrans" cxnId="{43A460B9-B68B-4899-8059-AFAE54D138CD}">
      <dgm:prSet/>
      <dgm:spPr/>
      <dgm:t>
        <a:bodyPr/>
        <a:lstStyle/>
        <a:p>
          <a:endParaRPr lang="en-US" sz="2000">
            <a:solidFill>
              <a:srgbClr val="000000"/>
            </a:solidFill>
          </a:endParaRPr>
        </a:p>
      </dgm:t>
    </dgm:pt>
    <dgm:pt modelId="{B7801400-7B86-4FA1-A14C-9278C9125CC8}">
      <dgm:prSet custT="1"/>
      <dgm:spPr/>
      <dgm:t>
        <a:bodyPr anchor="ctr"/>
        <a:lstStyle/>
        <a:p>
          <a:r>
            <a:rPr lang="en-US" sz="2000" dirty="0" smtClean="0">
              <a:solidFill>
                <a:srgbClr val="000000"/>
              </a:solidFill>
            </a:rPr>
            <a:t>db.COLLECTION_NAME.find({},{KEY:1}) </a:t>
          </a:r>
        </a:p>
      </dgm:t>
    </dgm:pt>
    <dgm:pt modelId="{27308F82-23D0-4D87-AD53-D552E942A8C2}" type="parTrans" cxnId="{6923ABA3-321F-4EF2-93F3-B1B75FE344F8}">
      <dgm:prSet/>
      <dgm:spPr/>
      <dgm:t>
        <a:bodyPr/>
        <a:lstStyle/>
        <a:p>
          <a:endParaRPr lang="en-US" sz="2000">
            <a:solidFill>
              <a:srgbClr val="000000"/>
            </a:solidFill>
          </a:endParaRPr>
        </a:p>
      </dgm:t>
    </dgm:pt>
    <dgm:pt modelId="{E711D208-2AFF-4CD1-81EA-09BA9A430C1E}" type="sibTrans" cxnId="{6923ABA3-321F-4EF2-93F3-B1B75FE344F8}">
      <dgm:prSet/>
      <dgm:spPr/>
      <dgm:t>
        <a:bodyPr/>
        <a:lstStyle/>
        <a:p>
          <a:endParaRPr lang="en-US" sz="2000">
            <a:solidFill>
              <a:srgbClr val="000000"/>
            </a:solidFill>
          </a:endParaRPr>
        </a:p>
      </dgm:t>
    </dgm:pt>
    <dgm:pt modelId="{AC234591-6C89-4E4A-A307-32920388AB9B}">
      <dgm:prSet custT="1"/>
      <dgm:spPr/>
      <dgm:t>
        <a:bodyPr anchor="ctr"/>
        <a:lstStyle/>
        <a:p>
          <a:r>
            <a:rPr lang="en-US" sz="2000" dirty="0" smtClean="0">
              <a:solidFill>
                <a:srgbClr val="000000"/>
              </a:solidFill>
            </a:rPr>
            <a:t>db.mycol.find({},{"title":1,_id:0})  </a:t>
          </a:r>
        </a:p>
      </dgm:t>
    </dgm:pt>
    <dgm:pt modelId="{9EAC22CE-DF2E-442A-8172-820FF66941A6}" type="parTrans" cxnId="{EEE40EDD-D442-431A-A6EC-7B4187871400}">
      <dgm:prSet/>
      <dgm:spPr/>
      <dgm:t>
        <a:bodyPr/>
        <a:lstStyle/>
        <a:p>
          <a:endParaRPr lang="en-US" sz="2000">
            <a:solidFill>
              <a:srgbClr val="000000"/>
            </a:solidFill>
          </a:endParaRPr>
        </a:p>
      </dgm:t>
    </dgm:pt>
    <dgm:pt modelId="{1CC4E1D5-001E-45F1-90BB-531302D6344E}" type="sibTrans" cxnId="{EEE40EDD-D442-431A-A6EC-7B4187871400}">
      <dgm:prSet/>
      <dgm:spPr/>
      <dgm:t>
        <a:bodyPr/>
        <a:lstStyle/>
        <a:p>
          <a:endParaRPr lang="en-US" sz="2000">
            <a:solidFill>
              <a:srgbClr val="000000"/>
            </a:solidFill>
          </a:endParaRPr>
        </a:p>
      </dgm:t>
    </dgm:pt>
    <dgm:pt modelId="{9F9DDAB7-C5F1-4340-B482-64793F51F834}">
      <dgm:prSet custT="1"/>
      <dgm:spPr/>
      <dgm:t>
        <a:bodyPr/>
        <a:lstStyle/>
        <a:p>
          <a:r>
            <a:rPr lang="en-US" sz="2000" dirty="0" smtClean="0">
              <a:solidFill>
                <a:srgbClr val="000000"/>
              </a:solidFill>
            </a:rPr>
            <a:t>if you don't want this field, then you need to set it as 0</a:t>
          </a:r>
          <a:endParaRPr lang="en-US" sz="2000" dirty="0">
            <a:solidFill>
              <a:srgbClr val="000000"/>
            </a:solidFill>
          </a:endParaRPr>
        </a:p>
      </dgm:t>
    </dgm:pt>
    <dgm:pt modelId="{3A0749F7-8ACC-41AE-AB5D-DB473681D0FC}" type="parTrans" cxnId="{CEF6CF12-E653-4762-8B9F-236B1E80E3C6}">
      <dgm:prSet/>
      <dgm:spPr/>
      <dgm:t>
        <a:bodyPr/>
        <a:lstStyle/>
        <a:p>
          <a:endParaRPr lang="en-US" sz="2000">
            <a:solidFill>
              <a:srgbClr val="000000"/>
            </a:solidFill>
          </a:endParaRPr>
        </a:p>
      </dgm:t>
    </dgm:pt>
    <dgm:pt modelId="{7D35B75C-A5BF-4DFA-BAA0-8E879C858BE7}" type="sibTrans" cxnId="{CEF6CF12-E653-4762-8B9F-236B1E80E3C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49623" custLinFactY="-7809" custLinFactNeighborX="1376" custLinFactNeighborY="-100000">
        <dgm:presLayoutVars>
          <dgm:chMax val="0"/>
          <dgm:bulletEnabled val="1"/>
        </dgm:presLayoutVars>
      </dgm:prSet>
      <dgm:spPr/>
      <dgm:t>
        <a:bodyPr/>
        <a:lstStyle/>
        <a:p>
          <a:endParaRPr lang="en-US"/>
        </a:p>
      </dgm:t>
    </dgm:pt>
    <dgm:pt modelId="{DABEE586-1516-4028-A8E6-A1B0BA4E6816}" type="pres">
      <dgm:prSet presAssocID="{F03A470E-D788-4E8C-8198-3EC2B90C12B1}" presName="spacer" presStyleCnt="0"/>
      <dgm:spPr/>
    </dgm:pt>
    <dgm:pt modelId="{C3FBCBFD-FFE8-4293-999B-60716D3D9833}" type="pres">
      <dgm:prSet presAssocID="{4299532A-0AC8-49B6-9356-EE928C59A28A}" presName="parentText" presStyleLbl="node1" presStyleIdx="1" presStyleCnt="3" custScaleY="142656">
        <dgm:presLayoutVars>
          <dgm:chMax val="0"/>
          <dgm:bulletEnabled val="1"/>
        </dgm:presLayoutVars>
      </dgm:prSet>
      <dgm:spPr/>
      <dgm:t>
        <a:bodyPr/>
        <a:lstStyle/>
        <a:p>
          <a:endParaRPr lang="en-US"/>
        </a:p>
      </dgm:t>
    </dgm:pt>
    <dgm:pt modelId="{3BECBF35-0916-4D54-AAA2-1EA473B3E9E8}" type="pres">
      <dgm:prSet presAssocID="{4299532A-0AC8-49B6-9356-EE928C59A28A}" presName="childText" presStyleLbl="revTx" presStyleIdx="0" presStyleCnt="1">
        <dgm:presLayoutVars>
          <dgm:bulletEnabled val="1"/>
        </dgm:presLayoutVars>
      </dgm:prSet>
      <dgm:spPr/>
      <dgm:t>
        <a:bodyPr/>
        <a:lstStyle/>
        <a:p>
          <a:endParaRPr lang="en-US"/>
        </a:p>
      </dgm:t>
    </dgm:pt>
    <dgm:pt modelId="{9AD92E85-A708-4870-9E2F-DBD150D8E946}" type="pres">
      <dgm:prSet presAssocID="{9F9DDAB7-C5F1-4340-B482-64793F51F834}" presName="parentText" presStyleLbl="node1" presStyleIdx="2" presStyleCnt="3" custScaleY="32533">
        <dgm:presLayoutVars>
          <dgm:chMax val="0"/>
          <dgm:bulletEnabled val="1"/>
        </dgm:presLayoutVars>
      </dgm:prSet>
      <dgm:spPr/>
      <dgm:t>
        <a:bodyPr/>
        <a:lstStyle/>
        <a:p>
          <a:endParaRPr lang="en-US"/>
        </a:p>
      </dgm:t>
    </dgm:pt>
  </dgm:ptLst>
  <dgm:cxnLst>
    <dgm:cxn modelId="{5352A37B-4382-459D-89A7-8B3C54997EB6}" type="presOf" srcId="{AC234591-6C89-4E4A-A307-32920388AB9B}" destId="{3BECBF35-0916-4D54-AAA2-1EA473B3E9E8}" srcOrd="0" destOrd="1" presId="urn:microsoft.com/office/officeart/2005/8/layout/vList2"/>
    <dgm:cxn modelId="{CEF6CF12-E653-4762-8B9F-236B1E80E3C6}" srcId="{29B1402D-A153-4C5A-BE98-8D9F1780C5D8}" destId="{9F9DDAB7-C5F1-4340-B482-64793F51F834}" srcOrd="2" destOrd="0" parTransId="{3A0749F7-8ACC-41AE-AB5D-DB473681D0FC}" sibTransId="{7D35B75C-A5BF-4DFA-BAA0-8E879C858BE7}"/>
    <dgm:cxn modelId="{43A460B9-B68B-4899-8059-AFAE54D138CD}" srcId="{29B1402D-A153-4C5A-BE98-8D9F1780C5D8}" destId="{4299532A-0AC8-49B6-9356-EE928C59A28A}" srcOrd="1" destOrd="0" parTransId="{A0C1EEBB-B18C-41C3-86E7-89C92A818561}" sibTransId="{2F7B3D53-BFE2-464D-B70E-71319CA52884}"/>
    <dgm:cxn modelId="{D6BB610D-25BE-445C-A9B1-F76210FCFAD5}" type="presOf" srcId="{29B1402D-A153-4C5A-BE98-8D9F1780C5D8}" destId="{EA2E1B46-256E-4363-AF1A-0C8557BCBA36}" srcOrd="0" destOrd="0" presId="urn:microsoft.com/office/officeart/2005/8/layout/vList2"/>
    <dgm:cxn modelId="{28F6E273-8ADE-4F31-8976-851076B7B66F}" type="presOf" srcId="{01B48101-CFA8-4641-83C7-B22F9ABEB30B}" destId="{A77B38D6-8EF8-4F56-B969-6807478B1038}" srcOrd="0" destOrd="0" presId="urn:microsoft.com/office/officeart/2005/8/layout/vList2"/>
    <dgm:cxn modelId="{6923ABA3-321F-4EF2-93F3-B1B75FE344F8}" srcId="{4299532A-0AC8-49B6-9356-EE928C59A28A}" destId="{B7801400-7B86-4FA1-A14C-9278C9125CC8}" srcOrd="0" destOrd="0" parTransId="{27308F82-23D0-4D87-AD53-D552E942A8C2}" sibTransId="{E711D208-2AFF-4CD1-81EA-09BA9A430C1E}"/>
    <dgm:cxn modelId="{DABE8C6F-0667-4E16-A10F-8D22CF2DD323}" type="presOf" srcId="{4299532A-0AC8-49B6-9356-EE928C59A28A}" destId="{C3FBCBFD-FFE8-4293-999B-60716D3D9833}" srcOrd="0" destOrd="0" presId="urn:microsoft.com/office/officeart/2005/8/layout/vList2"/>
    <dgm:cxn modelId="{6434A21C-8251-49F3-B752-DF8FF3060957}" type="presOf" srcId="{9F9DDAB7-C5F1-4340-B482-64793F51F834}" destId="{9AD92E85-A708-4870-9E2F-DBD150D8E946}" srcOrd="0" destOrd="0" presId="urn:microsoft.com/office/officeart/2005/8/layout/vList2"/>
    <dgm:cxn modelId="{EEE40EDD-D442-431A-A6EC-7B4187871400}" srcId="{4299532A-0AC8-49B6-9356-EE928C59A28A}" destId="{AC234591-6C89-4E4A-A307-32920388AB9B}" srcOrd="1" destOrd="0" parTransId="{9EAC22CE-DF2E-442A-8172-820FF66941A6}" sibTransId="{1CC4E1D5-001E-45F1-90BB-531302D6344E}"/>
    <dgm:cxn modelId="{DD7DBCD0-A797-44E0-A3BF-2E34E09A2B78}" type="presOf" srcId="{B7801400-7B86-4FA1-A14C-9278C9125CC8}" destId="{3BECBF35-0916-4D54-AAA2-1EA473B3E9E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5F06DA65-8A69-45A0-B13A-636B8C38B276}" type="presParOf" srcId="{EA2E1B46-256E-4363-AF1A-0C8557BCBA36}" destId="{A77B38D6-8EF8-4F56-B969-6807478B1038}" srcOrd="0" destOrd="0" presId="urn:microsoft.com/office/officeart/2005/8/layout/vList2"/>
    <dgm:cxn modelId="{58E8E2BC-9757-4FC1-996E-48EB2824D1F7}" type="presParOf" srcId="{EA2E1B46-256E-4363-AF1A-0C8557BCBA36}" destId="{DABEE586-1516-4028-A8E6-A1B0BA4E6816}" srcOrd="1" destOrd="0" presId="urn:microsoft.com/office/officeart/2005/8/layout/vList2"/>
    <dgm:cxn modelId="{8710803B-BEAF-4B97-8392-9F9EF03B5CFC}" type="presParOf" srcId="{EA2E1B46-256E-4363-AF1A-0C8557BCBA36}" destId="{C3FBCBFD-FFE8-4293-999B-60716D3D9833}" srcOrd="2" destOrd="0" presId="urn:microsoft.com/office/officeart/2005/8/layout/vList2"/>
    <dgm:cxn modelId="{8E5D16D6-963E-4F0A-8FAD-C686B67610A0}" type="presParOf" srcId="{EA2E1B46-256E-4363-AF1A-0C8557BCBA36}" destId="{3BECBF35-0916-4D54-AAA2-1EA473B3E9E8}" srcOrd="3" destOrd="0" presId="urn:microsoft.com/office/officeart/2005/8/layout/vList2"/>
    <dgm:cxn modelId="{B4B770A5-985C-40B0-9D79-FCE6B7841447}" type="presParOf" srcId="{EA2E1B46-256E-4363-AF1A-0C8557BCBA36}" destId="{9AD92E85-A708-4870-9E2F-DBD150D8E946}"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his query selects the documents in the users collection that match the condition age is greater than 18.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7A2C5EAE-7881-45ED-A90B-CA7384F40F4E}">
      <dgm:prSet phldrT="[Text]" custT="1"/>
      <dgm:spPr/>
      <dgm:t>
        <a:bodyPr/>
        <a:lstStyle/>
        <a:p>
          <a:r>
            <a:rPr lang="en-US" sz="2000" dirty="0" smtClean="0">
              <a:solidFill>
                <a:srgbClr val="000000"/>
              </a:solidFill>
            </a:rPr>
            <a:t>The query returns at most 5 matching documents (or more precisely, a cursor to those documents). </a:t>
          </a:r>
          <a:endParaRPr lang="en-US" sz="2000" dirty="0">
            <a:solidFill>
              <a:srgbClr val="000000"/>
            </a:solidFill>
          </a:endParaRPr>
        </a:p>
      </dgm:t>
    </dgm:pt>
    <dgm:pt modelId="{75C75C28-423C-470B-AA70-8DAA2D778E49}" type="parTrans" cxnId="{FA0A64FB-C2D0-438C-BDE3-4801F4600C73}">
      <dgm:prSet/>
      <dgm:spPr/>
      <dgm:t>
        <a:bodyPr/>
        <a:lstStyle/>
        <a:p>
          <a:endParaRPr lang="en-US" sz="2000">
            <a:solidFill>
              <a:srgbClr val="000000"/>
            </a:solidFill>
          </a:endParaRPr>
        </a:p>
      </dgm:t>
    </dgm:pt>
    <dgm:pt modelId="{749D254D-B0D8-45A6-B3CE-69C3BBF654E7}" type="sibTrans" cxnId="{FA0A64FB-C2D0-438C-BDE3-4801F4600C73}">
      <dgm:prSet/>
      <dgm:spPr/>
      <dgm:t>
        <a:bodyPr/>
        <a:lstStyle/>
        <a:p>
          <a:endParaRPr lang="en-US" sz="2000">
            <a:solidFill>
              <a:srgbClr val="000000"/>
            </a:solidFill>
          </a:endParaRPr>
        </a:p>
      </dgm:t>
    </dgm:pt>
    <dgm:pt modelId="{C7B15D3B-A413-43DF-9171-09B89B6B90BE}">
      <dgm:prSet phldrT="[Text]" custT="1"/>
      <dgm:spPr/>
      <dgm:t>
        <a:bodyPr/>
        <a:lstStyle/>
        <a:p>
          <a:r>
            <a:rPr lang="en-US" sz="2000" dirty="0" smtClean="0">
              <a:solidFill>
                <a:srgbClr val="000000"/>
              </a:solidFill>
            </a:rPr>
            <a:t>The matching documents will return with only the _id, name and address fields.</a:t>
          </a:r>
          <a:endParaRPr lang="en-US" sz="2000" dirty="0">
            <a:solidFill>
              <a:srgbClr val="000000"/>
            </a:solidFill>
          </a:endParaRPr>
        </a:p>
      </dgm:t>
    </dgm:pt>
    <dgm:pt modelId="{1F7EB1A1-9F6F-4C48-9907-4DFB59B963DD}" type="parTrans" cxnId="{97BB2DB8-0164-4E41-9DCD-52E2599FEC6A}">
      <dgm:prSet/>
      <dgm:spPr/>
      <dgm:t>
        <a:bodyPr/>
        <a:lstStyle/>
        <a:p>
          <a:endParaRPr lang="en-US" sz="2000">
            <a:solidFill>
              <a:srgbClr val="000000"/>
            </a:solidFill>
          </a:endParaRPr>
        </a:p>
      </dgm:t>
    </dgm:pt>
    <dgm:pt modelId="{225F3E91-DE7F-43E7-A0CB-A6071A3B6F3C}" type="sibTrans" cxnId="{97BB2DB8-0164-4E41-9DCD-52E2599FEC6A}">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074C92A6-915F-4079-9B19-69516B45D78C}" type="pres">
      <dgm:prSet presAssocID="{F03A470E-D788-4E8C-8198-3EC2B90C12B1}" presName="spacer" presStyleCnt="0"/>
      <dgm:spPr/>
    </dgm:pt>
    <dgm:pt modelId="{E6986E19-5D1B-466E-89C3-2F2361701875}" type="pres">
      <dgm:prSet presAssocID="{7A2C5EAE-7881-45ED-A90B-CA7384F40F4E}" presName="parentText" presStyleLbl="node1" presStyleIdx="1" presStyleCnt="3">
        <dgm:presLayoutVars>
          <dgm:chMax val="0"/>
          <dgm:bulletEnabled val="1"/>
        </dgm:presLayoutVars>
      </dgm:prSet>
      <dgm:spPr/>
      <dgm:t>
        <a:bodyPr/>
        <a:lstStyle/>
        <a:p>
          <a:endParaRPr lang="en-US"/>
        </a:p>
      </dgm:t>
    </dgm:pt>
    <dgm:pt modelId="{F9A07A87-7AD5-4F73-AFBF-79898687D2F3}" type="pres">
      <dgm:prSet presAssocID="{749D254D-B0D8-45A6-B3CE-69C3BBF654E7}" presName="spacer" presStyleCnt="0"/>
      <dgm:spPr/>
    </dgm:pt>
    <dgm:pt modelId="{06C63B17-AC2C-4BA6-A2E0-D0ECBF8B33DD}" type="pres">
      <dgm:prSet presAssocID="{C7B15D3B-A413-43DF-9171-09B89B6B90BE}" presName="parentText" presStyleLbl="node1" presStyleIdx="2" presStyleCnt="3">
        <dgm:presLayoutVars>
          <dgm:chMax val="0"/>
          <dgm:bulletEnabled val="1"/>
        </dgm:presLayoutVars>
      </dgm:prSet>
      <dgm:spPr/>
      <dgm:t>
        <a:bodyPr/>
        <a:lstStyle/>
        <a:p>
          <a:endParaRPr lang="en-US"/>
        </a:p>
      </dgm:t>
    </dgm:pt>
  </dgm:ptLst>
  <dgm:cxnLst>
    <dgm:cxn modelId="{3F6391B4-0754-402D-B89A-ECE12D8AAD96}" type="presOf" srcId="{C7B15D3B-A413-43DF-9171-09B89B6B90BE}" destId="{06C63B17-AC2C-4BA6-A2E0-D0ECBF8B33DD}" srcOrd="0" destOrd="0" presId="urn:microsoft.com/office/officeart/2005/8/layout/vList2"/>
    <dgm:cxn modelId="{11478544-9DD1-460C-9B79-D6F920EAC6C7}" type="presOf" srcId="{01B48101-CFA8-4641-83C7-B22F9ABEB30B}" destId="{A77B38D6-8EF8-4F56-B969-6807478B1038}" srcOrd="0" destOrd="0" presId="urn:microsoft.com/office/officeart/2005/8/layout/vList2"/>
    <dgm:cxn modelId="{FA0A64FB-C2D0-438C-BDE3-4801F4600C73}" srcId="{29B1402D-A153-4C5A-BE98-8D9F1780C5D8}" destId="{7A2C5EAE-7881-45ED-A90B-CA7384F40F4E}" srcOrd="1" destOrd="0" parTransId="{75C75C28-423C-470B-AA70-8DAA2D778E49}" sibTransId="{749D254D-B0D8-45A6-B3CE-69C3BBF654E7}"/>
    <dgm:cxn modelId="{BAA27431-295D-43C5-A7D7-6B88023D8D34}" type="presOf" srcId="{29B1402D-A153-4C5A-BE98-8D9F1780C5D8}" destId="{EA2E1B46-256E-4363-AF1A-0C8557BCBA36}" srcOrd="0" destOrd="0" presId="urn:microsoft.com/office/officeart/2005/8/layout/vList2"/>
    <dgm:cxn modelId="{D24ECA81-FED8-4D60-AA7A-B9901726D2DB}" type="presOf" srcId="{7A2C5EAE-7881-45ED-A90B-CA7384F40F4E}" destId="{E6986E19-5D1B-466E-89C3-2F2361701875}" srcOrd="0" destOrd="0" presId="urn:microsoft.com/office/officeart/2005/8/layout/vList2"/>
    <dgm:cxn modelId="{97BB2DB8-0164-4E41-9DCD-52E2599FEC6A}" srcId="{29B1402D-A153-4C5A-BE98-8D9F1780C5D8}" destId="{C7B15D3B-A413-43DF-9171-09B89B6B90BE}" srcOrd="2" destOrd="0" parTransId="{1F7EB1A1-9F6F-4C48-9907-4DFB59B963DD}" sibTransId="{225F3E91-DE7F-43E7-A0CB-A6071A3B6F3C}"/>
    <dgm:cxn modelId="{E07CAD63-0E86-4D7B-A66A-5C3588C48197}" srcId="{29B1402D-A153-4C5A-BE98-8D9F1780C5D8}" destId="{01B48101-CFA8-4641-83C7-B22F9ABEB30B}" srcOrd="0" destOrd="0" parTransId="{4D5AEF54-14FE-4BA4-987A-BECEB44108D1}" sibTransId="{F03A470E-D788-4E8C-8198-3EC2B90C12B1}"/>
    <dgm:cxn modelId="{71ADA616-88B1-481E-A58B-34EDF7E3BA4C}" type="presParOf" srcId="{EA2E1B46-256E-4363-AF1A-0C8557BCBA36}" destId="{A77B38D6-8EF8-4F56-B969-6807478B1038}" srcOrd="0" destOrd="0" presId="urn:microsoft.com/office/officeart/2005/8/layout/vList2"/>
    <dgm:cxn modelId="{06057A15-43A1-46E7-8BDB-38EBF307E114}" type="presParOf" srcId="{EA2E1B46-256E-4363-AF1A-0C8557BCBA36}" destId="{074C92A6-915F-4079-9B19-69516B45D78C}" srcOrd="1" destOrd="0" presId="urn:microsoft.com/office/officeart/2005/8/layout/vList2"/>
    <dgm:cxn modelId="{8AC175E1-BF04-41FE-9EDC-3905A2E4C0ED}" type="presParOf" srcId="{EA2E1B46-256E-4363-AF1A-0C8557BCBA36}" destId="{E6986E19-5D1B-466E-89C3-2F2361701875}" srcOrd="2" destOrd="0" presId="urn:microsoft.com/office/officeart/2005/8/layout/vList2"/>
    <dgm:cxn modelId="{20E6B2E8-93AD-42B5-87DF-ABFF79B87ED7}" type="presParOf" srcId="{EA2E1B46-256E-4363-AF1A-0C8557BCBA36}" destId="{F9A07A87-7AD5-4F73-AFBF-79898687D2F3}" srcOrd="3" destOrd="0" presId="urn:microsoft.com/office/officeart/2005/8/layout/vList2"/>
    <dgm:cxn modelId="{52334AF1-8845-41C9-B839-1B50EF370ACA}" type="presParOf" srcId="{EA2E1B46-256E-4363-AF1A-0C8557BCBA36}" destId="{06C63B17-AC2C-4BA6-A2E0-D0ECBF8B33DD}"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Query expression objects indicate a pattern to match</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FF7E021-5CAA-45B1-BD6A-1C996DC64D1C}">
      <dgm:prSet custT="1"/>
      <dgm:spPr/>
      <dgm:t>
        <a:bodyPr/>
        <a:lstStyle/>
        <a:p>
          <a:r>
            <a:rPr lang="en-US" sz="2000" b="1" dirty="0" smtClean="0">
              <a:solidFill>
                <a:srgbClr val="000000"/>
              </a:solidFill>
            </a:rPr>
            <a:t>&gt; db.employees.find( {lastname: "Acharaya"} )</a:t>
          </a:r>
        </a:p>
      </dgm:t>
    </dgm:pt>
    <dgm:pt modelId="{553C0368-5848-4EE8-ADAA-E4D341A5CD56}" type="parTrans" cxnId="{4724B6F3-AC6E-48EB-A72D-0F71B954ED4E}">
      <dgm:prSet/>
      <dgm:spPr/>
      <dgm:t>
        <a:bodyPr/>
        <a:lstStyle/>
        <a:p>
          <a:endParaRPr lang="en-US" sz="2000">
            <a:solidFill>
              <a:srgbClr val="000000"/>
            </a:solidFill>
          </a:endParaRPr>
        </a:p>
      </dgm:t>
    </dgm:pt>
    <dgm:pt modelId="{781C2B5C-92E0-45D0-8737-725EF162BBA9}" type="sibTrans" cxnId="{4724B6F3-AC6E-48EB-A72D-0F71B954ED4E}">
      <dgm:prSet/>
      <dgm:spPr/>
      <dgm:t>
        <a:bodyPr/>
        <a:lstStyle/>
        <a:p>
          <a:endParaRPr lang="en-US" sz="2000">
            <a:solidFill>
              <a:srgbClr val="000000"/>
            </a:solidFill>
          </a:endParaRPr>
        </a:p>
      </dgm:t>
    </dgm:pt>
    <dgm:pt modelId="{AAC57440-70FE-4B6D-BF7C-787190697431}">
      <dgm:prSet custT="1"/>
      <dgm:spPr/>
      <dgm:t>
        <a:bodyPr/>
        <a:lstStyle/>
        <a:p>
          <a:r>
            <a:rPr lang="en-US" sz="2000" dirty="0" smtClean="0">
              <a:solidFill>
                <a:srgbClr val="000000"/>
              </a:solidFill>
            </a:rPr>
            <a:t>Several query objects for advanced queries</a:t>
          </a:r>
        </a:p>
      </dgm:t>
    </dgm:pt>
    <dgm:pt modelId="{B3428DA6-91A9-4CA7-94A1-1B80721D9EED}" type="parTrans" cxnId="{06A003C7-6144-4E90-80E5-ACFB55B2FF53}">
      <dgm:prSet/>
      <dgm:spPr/>
      <dgm:t>
        <a:bodyPr/>
        <a:lstStyle/>
        <a:p>
          <a:endParaRPr lang="en-US" sz="2000">
            <a:solidFill>
              <a:srgbClr val="000000"/>
            </a:solidFill>
          </a:endParaRPr>
        </a:p>
      </dgm:t>
    </dgm:pt>
    <dgm:pt modelId="{4426672C-4A97-4707-9196-698D5DA1C1AB}" type="sibTrans" cxnId="{06A003C7-6144-4E90-80E5-ACFB55B2FF53}">
      <dgm:prSet/>
      <dgm:spPr/>
      <dgm:t>
        <a:bodyPr/>
        <a:lstStyle/>
        <a:p>
          <a:endParaRPr lang="en-US" sz="2000">
            <a:solidFill>
              <a:srgbClr val="000000"/>
            </a:solidFill>
          </a:endParaRPr>
        </a:p>
      </dgm:t>
    </dgm:pt>
    <dgm:pt modelId="{F5389E71-B4AF-4F5E-B249-32573820C4D6}">
      <dgm:prSet custT="1"/>
      <dgm:spPr/>
      <dgm:t>
        <a:bodyPr/>
        <a:lstStyle/>
        <a:p>
          <a:r>
            <a:rPr lang="en-US" sz="2000" b="1" dirty="0" smtClean="0">
              <a:solidFill>
                <a:srgbClr val="000000"/>
              </a:solidFill>
            </a:rPr>
            <a:t>db.employees.find( {age: {$gte: 23} } )</a:t>
          </a:r>
        </a:p>
      </dgm:t>
    </dgm:pt>
    <dgm:pt modelId="{DF1459D7-60A6-49E2-AD60-7A0BC07D6D6F}" type="parTrans" cxnId="{8801BB7B-2795-4AAA-B053-ADB6C08AF546}">
      <dgm:prSet/>
      <dgm:spPr/>
      <dgm:t>
        <a:bodyPr/>
        <a:lstStyle/>
        <a:p>
          <a:endParaRPr lang="en-US" sz="2000">
            <a:solidFill>
              <a:srgbClr val="000000"/>
            </a:solidFill>
          </a:endParaRPr>
        </a:p>
      </dgm:t>
    </dgm:pt>
    <dgm:pt modelId="{130DA4E4-4881-4A08-86B3-1EB58CF5B6EF}" type="sibTrans" cxnId="{8801BB7B-2795-4AAA-B053-ADB6C08AF546}">
      <dgm:prSet/>
      <dgm:spPr/>
      <dgm:t>
        <a:bodyPr/>
        <a:lstStyle/>
        <a:p>
          <a:endParaRPr lang="en-US" sz="2000">
            <a:solidFill>
              <a:srgbClr val="000000"/>
            </a:solidFill>
          </a:endParaRPr>
        </a:p>
      </dgm:t>
    </dgm:pt>
    <dgm:pt modelId="{955D10DE-CA4C-4883-AA83-AD2D704EADED}">
      <dgm:prSet custT="1"/>
      <dgm:spPr/>
      <dgm:t>
        <a:bodyPr/>
        <a:lstStyle/>
        <a:p>
          <a:r>
            <a:rPr lang="en-US" sz="2000" b="1" dirty="0" smtClean="0">
              <a:solidFill>
                <a:srgbClr val="000000"/>
              </a:solidFill>
            </a:rPr>
            <a:t>db.employees.find( {age: {$in: [23,25]} } )</a:t>
          </a:r>
        </a:p>
      </dgm:t>
    </dgm:pt>
    <dgm:pt modelId="{EE298DFE-65EC-485C-9ECD-72DBCE9D969B}" type="parTrans" cxnId="{AB73A2C4-D6AA-419D-BE33-B8F97DD69D83}">
      <dgm:prSet/>
      <dgm:spPr/>
      <dgm:t>
        <a:bodyPr/>
        <a:lstStyle/>
        <a:p>
          <a:endParaRPr lang="en-US" sz="2000">
            <a:solidFill>
              <a:srgbClr val="000000"/>
            </a:solidFill>
          </a:endParaRPr>
        </a:p>
      </dgm:t>
    </dgm:pt>
    <dgm:pt modelId="{D9FC6DB8-82F2-4441-94D1-F92277CE2162}" type="sibTrans" cxnId="{AB73A2C4-D6AA-419D-BE33-B8F97DD69D83}">
      <dgm:prSet/>
      <dgm:spPr/>
      <dgm:t>
        <a:bodyPr/>
        <a:lstStyle/>
        <a:p>
          <a:endParaRPr lang="en-US" sz="2000">
            <a:solidFill>
              <a:srgbClr val="000000"/>
            </a:solidFill>
          </a:endParaRPr>
        </a:p>
      </dgm:t>
    </dgm:pt>
    <dgm:pt modelId="{5327AF30-DE01-4BC9-ACA2-A174C0E38188}">
      <dgm:prSet custT="1"/>
      <dgm:spPr/>
      <dgm:t>
        <a:bodyPr/>
        <a:lstStyle/>
        <a:p>
          <a:r>
            <a:rPr lang="en-US" sz="2000" dirty="0" smtClean="0">
              <a:solidFill>
                <a:srgbClr val="000000"/>
              </a:solidFill>
            </a:rPr>
            <a:t>Exact match an entire embedded object</a:t>
          </a:r>
        </a:p>
      </dgm:t>
    </dgm:pt>
    <dgm:pt modelId="{280524C1-01ED-4340-A031-520E6B6163CA}" type="parTrans" cxnId="{0F2A56B9-38AA-44A7-A7B2-B812547C3678}">
      <dgm:prSet/>
      <dgm:spPr/>
      <dgm:t>
        <a:bodyPr/>
        <a:lstStyle/>
        <a:p>
          <a:endParaRPr lang="en-US" sz="2000">
            <a:solidFill>
              <a:srgbClr val="000000"/>
            </a:solidFill>
          </a:endParaRPr>
        </a:p>
      </dgm:t>
    </dgm:pt>
    <dgm:pt modelId="{14D52C99-FE1F-4A4F-A15E-660696044698}" type="sibTrans" cxnId="{0F2A56B9-38AA-44A7-A7B2-B812547C3678}">
      <dgm:prSet/>
      <dgm:spPr/>
      <dgm:t>
        <a:bodyPr/>
        <a:lstStyle/>
        <a:p>
          <a:endParaRPr lang="en-US" sz="2000">
            <a:solidFill>
              <a:srgbClr val="000000"/>
            </a:solidFill>
          </a:endParaRPr>
        </a:p>
      </dgm:t>
    </dgm:pt>
    <dgm:pt modelId="{522ACC37-4377-479E-95FC-659448AF9296}">
      <dgm:prSet custT="1"/>
      <dgm:spPr/>
      <dgm:t>
        <a:bodyPr/>
        <a:lstStyle/>
        <a:p>
          <a:r>
            <a:rPr lang="en-US" sz="2000" b="1" dirty="0" smtClean="0">
              <a:solidFill>
                <a:srgbClr val="000000"/>
              </a:solidFill>
            </a:rPr>
            <a:t>db.users.find( {address: {state: “MS”</a:t>
          </a:r>
        </a:p>
      </dgm:t>
    </dgm:pt>
    <dgm:pt modelId="{D9F05267-0257-4CAB-8F57-217446056E3D}" type="parTrans" cxnId="{10E9FF21-FE43-4C55-99CD-81DBBA025991}">
      <dgm:prSet/>
      <dgm:spPr/>
      <dgm:t>
        <a:bodyPr/>
        <a:lstStyle/>
        <a:p>
          <a:endParaRPr lang="en-US" sz="2000">
            <a:solidFill>
              <a:srgbClr val="000000"/>
            </a:solidFill>
          </a:endParaRPr>
        </a:p>
      </dgm:t>
    </dgm:pt>
    <dgm:pt modelId="{3B9A0250-FF93-4160-98B8-0A56F5A906D1}" type="sibTrans" cxnId="{10E9FF21-FE43-4C55-99CD-81DBBA025991}">
      <dgm:prSet/>
      <dgm:spPr/>
      <dgm:t>
        <a:bodyPr/>
        <a:lstStyle/>
        <a:p>
          <a:endParaRPr lang="en-US" sz="2000">
            <a:solidFill>
              <a:srgbClr val="000000"/>
            </a:solidFill>
          </a:endParaRPr>
        </a:p>
      </dgm:t>
    </dgm:pt>
    <dgm:pt modelId="{A5B7D7EE-FEB8-4991-9BB5-E03ABD8938E5}">
      <dgm:prSet custT="1"/>
      <dgm:spPr/>
      <dgm:t>
        <a:bodyPr/>
        <a:lstStyle/>
        <a:p>
          <a:r>
            <a:rPr lang="en-US" sz="2000" dirty="0" smtClean="0">
              <a:solidFill>
                <a:srgbClr val="000000"/>
              </a:solidFill>
            </a:rPr>
            <a:t>Dot-notation for a partial match</a:t>
          </a:r>
        </a:p>
      </dgm:t>
    </dgm:pt>
    <dgm:pt modelId="{82379E0F-FD51-4046-BF98-80F175C62834}" type="parTrans" cxnId="{64BF085F-9891-4A96-BBF2-4A47441BD78E}">
      <dgm:prSet/>
      <dgm:spPr/>
      <dgm:t>
        <a:bodyPr/>
        <a:lstStyle/>
        <a:p>
          <a:endParaRPr lang="en-US" sz="2000">
            <a:solidFill>
              <a:srgbClr val="000000"/>
            </a:solidFill>
          </a:endParaRPr>
        </a:p>
      </dgm:t>
    </dgm:pt>
    <dgm:pt modelId="{F3F9660A-A5F4-4809-9B54-62CF6951277E}" type="sibTrans" cxnId="{64BF085F-9891-4A96-BBF2-4A47441BD78E}">
      <dgm:prSet/>
      <dgm:spPr/>
      <dgm:t>
        <a:bodyPr/>
        <a:lstStyle/>
        <a:p>
          <a:endParaRPr lang="en-US" sz="2000">
            <a:solidFill>
              <a:srgbClr val="000000"/>
            </a:solidFill>
          </a:endParaRPr>
        </a:p>
      </dgm:t>
    </dgm:pt>
    <dgm:pt modelId="{D9C5ECD9-CCB8-452C-82EB-D650A6873DBD}">
      <dgm:prSet custT="1"/>
      <dgm:spPr/>
      <dgm:t>
        <a:bodyPr/>
        <a:lstStyle/>
        <a:p>
          <a:r>
            <a:rPr lang="en-US" sz="2000" b="1" dirty="0" smtClean="0">
              <a:solidFill>
                <a:srgbClr val="000000"/>
              </a:solidFill>
            </a:rPr>
            <a:t>db.employees.find( {"address.city": “Pune”} )</a:t>
          </a:r>
        </a:p>
      </dgm:t>
    </dgm:pt>
    <dgm:pt modelId="{DE1D1152-36F4-4AB0-B18F-E85AF949F5E9}" type="parTrans" cxnId="{8B5F8531-2ECC-42C1-B077-8416372FB3CD}">
      <dgm:prSet/>
      <dgm:spPr/>
      <dgm:t>
        <a:bodyPr/>
        <a:lstStyle/>
        <a:p>
          <a:endParaRPr lang="en-US" sz="2000">
            <a:solidFill>
              <a:srgbClr val="000000"/>
            </a:solidFill>
          </a:endParaRPr>
        </a:p>
      </dgm:t>
    </dgm:pt>
    <dgm:pt modelId="{C48FB57F-6917-4CF1-A275-528EC94F36B4}" type="sibTrans" cxnId="{8B5F8531-2ECC-42C1-B077-8416372FB3CD}">
      <dgm:prSet/>
      <dgm:spPr/>
      <dgm:t>
        <a:bodyPr/>
        <a:lstStyle/>
        <a:p>
          <a:endParaRPr lang="en-US" sz="2000">
            <a:solidFill>
              <a:srgbClr val="000000"/>
            </a:solidFill>
          </a:endParaRPr>
        </a:p>
      </dgm:t>
    </dgm:pt>
    <dgm:pt modelId="{81C79263-EF05-43E1-A22C-61460AF2AF51}">
      <dgm:prSet custT="1"/>
      <dgm:spPr/>
      <dgm:t>
        <a:bodyPr/>
        <a:lstStyle/>
        <a:p>
          <a:r>
            <a:rPr lang="en-US" sz="2000" b="1" dirty="0" smtClean="0">
              <a:solidFill>
                <a:srgbClr val="000000"/>
              </a:solidFill>
            </a:rPr>
            <a:t> Terrace‘,city: 'Denton'}} ) </a:t>
          </a:r>
        </a:p>
      </dgm:t>
    </dgm:pt>
    <dgm:pt modelId="{C95BFB10-3D0A-4920-A32F-0CA64F23D264}" type="parTrans" cxnId="{7BE82508-CA52-4C17-B19F-CD25B075C110}">
      <dgm:prSet/>
      <dgm:spPr/>
      <dgm:t>
        <a:bodyPr/>
        <a:lstStyle/>
        <a:p>
          <a:endParaRPr lang="en-US"/>
        </a:p>
      </dgm:t>
    </dgm:pt>
    <dgm:pt modelId="{ABEE344B-1ACC-449E-80B5-D75098449793}" type="sibTrans" cxnId="{7BE82508-CA52-4C17-B19F-CD25B075C110}">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4">
        <dgm:presLayoutVars>
          <dgm:bulletEnabled val="1"/>
        </dgm:presLayoutVars>
      </dgm:prSet>
      <dgm:spPr/>
      <dgm:t>
        <a:bodyPr/>
        <a:lstStyle/>
        <a:p>
          <a:endParaRPr lang="en-US"/>
        </a:p>
      </dgm:t>
    </dgm:pt>
    <dgm:pt modelId="{553C602C-2C4F-4D1B-9F13-B0B0BE10AAB3}" type="pres">
      <dgm:prSet presAssocID="{AAC57440-70FE-4B6D-BF7C-787190697431}" presName="parentText" presStyleLbl="node1" presStyleIdx="1" presStyleCnt="4">
        <dgm:presLayoutVars>
          <dgm:chMax val="0"/>
          <dgm:bulletEnabled val="1"/>
        </dgm:presLayoutVars>
      </dgm:prSet>
      <dgm:spPr/>
      <dgm:t>
        <a:bodyPr/>
        <a:lstStyle/>
        <a:p>
          <a:endParaRPr lang="en-US"/>
        </a:p>
      </dgm:t>
    </dgm:pt>
    <dgm:pt modelId="{F7BDD9D7-3CA1-4B0F-BF37-681F68515522}" type="pres">
      <dgm:prSet presAssocID="{AAC57440-70FE-4B6D-BF7C-787190697431}" presName="childText" presStyleLbl="revTx" presStyleIdx="1" presStyleCnt="4">
        <dgm:presLayoutVars>
          <dgm:bulletEnabled val="1"/>
        </dgm:presLayoutVars>
      </dgm:prSet>
      <dgm:spPr/>
      <dgm:t>
        <a:bodyPr/>
        <a:lstStyle/>
        <a:p>
          <a:endParaRPr lang="en-US"/>
        </a:p>
      </dgm:t>
    </dgm:pt>
    <dgm:pt modelId="{2BC020B3-26C8-4A1B-8091-4D5E2FB5CF91}" type="pres">
      <dgm:prSet presAssocID="{5327AF30-DE01-4BC9-ACA2-A174C0E38188}" presName="parentText" presStyleLbl="node1" presStyleIdx="2" presStyleCnt="4">
        <dgm:presLayoutVars>
          <dgm:chMax val="0"/>
          <dgm:bulletEnabled val="1"/>
        </dgm:presLayoutVars>
      </dgm:prSet>
      <dgm:spPr/>
      <dgm:t>
        <a:bodyPr/>
        <a:lstStyle/>
        <a:p>
          <a:endParaRPr lang="en-US"/>
        </a:p>
      </dgm:t>
    </dgm:pt>
    <dgm:pt modelId="{BF1F96AF-8FD5-4B03-B9C1-8BC846F81F22}" type="pres">
      <dgm:prSet presAssocID="{5327AF30-DE01-4BC9-ACA2-A174C0E38188}" presName="childText" presStyleLbl="revTx" presStyleIdx="2" presStyleCnt="4">
        <dgm:presLayoutVars>
          <dgm:bulletEnabled val="1"/>
        </dgm:presLayoutVars>
      </dgm:prSet>
      <dgm:spPr/>
      <dgm:t>
        <a:bodyPr/>
        <a:lstStyle/>
        <a:p>
          <a:endParaRPr lang="en-US"/>
        </a:p>
      </dgm:t>
    </dgm:pt>
    <dgm:pt modelId="{63E2AC08-A6A8-470F-9E82-6EBB82E6F30E}" type="pres">
      <dgm:prSet presAssocID="{A5B7D7EE-FEB8-4991-9BB5-E03ABD8938E5}" presName="parentText" presStyleLbl="node1" presStyleIdx="3" presStyleCnt="4">
        <dgm:presLayoutVars>
          <dgm:chMax val="0"/>
          <dgm:bulletEnabled val="1"/>
        </dgm:presLayoutVars>
      </dgm:prSet>
      <dgm:spPr/>
      <dgm:t>
        <a:bodyPr/>
        <a:lstStyle/>
        <a:p>
          <a:endParaRPr lang="en-US"/>
        </a:p>
      </dgm:t>
    </dgm:pt>
    <dgm:pt modelId="{99918C9C-AC3F-49D5-B4D1-A9CD8AD5171C}" type="pres">
      <dgm:prSet presAssocID="{A5B7D7EE-FEB8-4991-9BB5-E03ABD8938E5}" presName="childText" presStyleLbl="revTx" presStyleIdx="3" presStyleCnt="4">
        <dgm:presLayoutVars>
          <dgm:bulletEnabled val="1"/>
        </dgm:presLayoutVars>
      </dgm:prSet>
      <dgm:spPr/>
      <dgm:t>
        <a:bodyPr/>
        <a:lstStyle/>
        <a:p>
          <a:endParaRPr lang="en-US"/>
        </a:p>
      </dgm:t>
    </dgm:pt>
  </dgm:ptLst>
  <dgm:cxnLst>
    <dgm:cxn modelId="{64BF085F-9891-4A96-BBF2-4A47441BD78E}" srcId="{29B1402D-A153-4C5A-BE98-8D9F1780C5D8}" destId="{A5B7D7EE-FEB8-4991-9BB5-E03ABD8938E5}" srcOrd="3" destOrd="0" parTransId="{82379E0F-FD51-4046-BF98-80F175C62834}" sibTransId="{F3F9660A-A5F4-4809-9B54-62CF6951277E}"/>
    <dgm:cxn modelId="{98053B45-DFD7-4A01-A384-F9D952B09705}" type="presOf" srcId="{01B48101-CFA8-4641-83C7-B22F9ABEB30B}" destId="{A77B38D6-8EF8-4F56-B969-6807478B1038}" srcOrd="0" destOrd="0" presId="urn:microsoft.com/office/officeart/2005/8/layout/vList2"/>
    <dgm:cxn modelId="{E626262E-AB78-4B22-BDDF-C60309F2FACC}" type="presOf" srcId="{955D10DE-CA4C-4883-AA83-AD2D704EADED}" destId="{F7BDD9D7-3CA1-4B0F-BF37-681F68515522}" srcOrd="0" destOrd="1" presId="urn:microsoft.com/office/officeart/2005/8/layout/vList2"/>
    <dgm:cxn modelId="{C11DE4A9-80A5-43A2-AA42-FE207630640E}" type="presOf" srcId="{5327AF30-DE01-4BC9-ACA2-A174C0E38188}" destId="{2BC020B3-26C8-4A1B-8091-4D5E2FB5CF91}"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FAB9ECE9-622F-439A-9208-A59DD6B24D0C}" type="presOf" srcId="{29B1402D-A153-4C5A-BE98-8D9F1780C5D8}" destId="{EA2E1B46-256E-4363-AF1A-0C8557BCBA36}" srcOrd="0" destOrd="0" presId="urn:microsoft.com/office/officeart/2005/8/layout/vList2"/>
    <dgm:cxn modelId="{7BE82508-CA52-4C17-B19F-CD25B075C110}" srcId="{5327AF30-DE01-4BC9-ACA2-A174C0E38188}" destId="{81C79263-EF05-43E1-A22C-61460AF2AF51}" srcOrd="1" destOrd="0" parTransId="{C95BFB10-3D0A-4920-A32F-0CA64F23D264}" sibTransId="{ABEE344B-1ACC-449E-80B5-D75098449793}"/>
    <dgm:cxn modelId="{8843D432-9DF8-4033-9990-08018CF1DB91}" type="presOf" srcId="{A5B7D7EE-FEB8-4991-9BB5-E03ABD8938E5}" destId="{63E2AC08-A6A8-470F-9E82-6EBB82E6F30E}" srcOrd="0" destOrd="0" presId="urn:microsoft.com/office/officeart/2005/8/layout/vList2"/>
    <dgm:cxn modelId="{75B25817-479E-421C-8E85-6D4E2CD4BF0B}" type="presOf" srcId="{8FF7E021-5CAA-45B1-BD6A-1C996DC64D1C}" destId="{D35D2B51-CDB9-456F-AB69-03B1DA780EB7}" srcOrd="0" destOrd="0" presId="urn:microsoft.com/office/officeart/2005/8/layout/vList2"/>
    <dgm:cxn modelId="{06A003C7-6144-4E90-80E5-ACFB55B2FF53}" srcId="{29B1402D-A153-4C5A-BE98-8D9F1780C5D8}" destId="{AAC57440-70FE-4B6D-BF7C-787190697431}" srcOrd="1" destOrd="0" parTransId="{B3428DA6-91A9-4CA7-94A1-1B80721D9EED}" sibTransId="{4426672C-4A97-4707-9196-698D5DA1C1AB}"/>
    <dgm:cxn modelId="{F1ABB546-65BE-493A-BC5C-FF730A238B98}" type="presOf" srcId="{81C79263-EF05-43E1-A22C-61460AF2AF51}" destId="{BF1F96AF-8FD5-4B03-B9C1-8BC846F81F22}" srcOrd="0" destOrd="1" presId="urn:microsoft.com/office/officeart/2005/8/layout/vList2"/>
    <dgm:cxn modelId="{4724B6F3-AC6E-48EB-A72D-0F71B954ED4E}" srcId="{01B48101-CFA8-4641-83C7-B22F9ABEB30B}" destId="{8FF7E021-5CAA-45B1-BD6A-1C996DC64D1C}" srcOrd="0" destOrd="0" parTransId="{553C0368-5848-4EE8-ADAA-E4D341A5CD56}" sibTransId="{781C2B5C-92E0-45D0-8737-725EF162BBA9}"/>
    <dgm:cxn modelId="{20D532FA-7A28-4253-826E-7F0FED897228}" type="presOf" srcId="{F5389E71-B4AF-4F5E-B249-32573820C4D6}" destId="{F7BDD9D7-3CA1-4B0F-BF37-681F68515522}" srcOrd="0" destOrd="0" presId="urn:microsoft.com/office/officeart/2005/8/layout/vList2"/>
    <dgm:cxn modelId="{4903D5F1-67A6-498B-AA33-DB17DC398036}" type="presOf" srcId="{D9C5ECD9-CCB8-452C-82EB-D650A6873DBD}" destId="{99918C9C-AC3F-49D5-B4D1-A9CD8AD5171C}" srcOrd="0" destOrd="0" presId="urn:microsoft.com/office/officeart/2005/8/layout/vList2"/>
    <dgm:cxn modelId="{0F2A56B9-38AA-44A7-A7B2-B812547C3678}" srcId="{29B1402D-A153-4C5A-BE98-8D9F1780C5D8}" destId="{5327AF30-DE01-4BC9-ACA2-A174C0E38188}" srcOrd="2" destOrd="0" parTransId="{280524C1-01ED-4340-A031-520E6B6163CA}" sibTransId="{14D52C99-FE1F-4A4F-A15E-660696044698}"/>
    <dgm:cxn modelId="{303BB43A-F82B-42B5-9081-C30FAA9DCEDA}" type="presOf" srcId="{522ACC37-4377-479E-95FC-659448AF9296}" destId="{BF1F96AF-8FD5-4B03-B9C1-8BC846F81F22}" srcOrd="0" destOrd="0" presId="urn:microsoft.com/office/officeart/2005/8/layout/vList2"/>
    <dgm:cxn modelId="{10E9FF21-FE43-4C55-99CD-81DBBA025991}" srcId="{5327AF30-DE01-4BC9-ACA2-A174C0E38188}" destId="{522ACC37-4377-479E-95FC-659448AF9296}" srcOrd="0" destOrd="0" parTransId="{D9F05267-0257-4CAB-8F57-217446056E3D}" sibTransId="{3B9A0250-FF93-4160-98B8-0A56F5A906D1}"/>
    <dgm:cxn modelId="{AB73A2C4-D6AA-419D-BE33-B8F97DD69D83}" srcId="{AAC57440-70FE-4B6D-BF7C-787190697431}" destId="{955D10DE-CA4C-4883-AA83-AD2D704EADED}" srcOrd="1" destOrd="0" parTransId="{EE298DFE-65EC-485C-9ECD-72DBCE9D969B}" sibTransId="{D9FC6DB8-82F2-4441-94D1-F92277CE2162}"/>
    <dgm:cxn modelId="{8B5F8531-2ECC-42C1-B077-8416372FB3CD}" srcId="{A5B7D7EE-FEB8-4991-9BB5-E03ABD8938E5}" destId="{D9C5ECD9-CCB8-452C-82EB-D650A6873DBD}" srcOrd="0" destOrd="0" parTransId="{DE1D1152-36F4-4AB0-B18F-E85AF949F5E9}" sibTransId="{C48FB57F-6917-4CF1-A275-528EC94F36B4}"/>
    <dgm:cxn modelId="{BC6FFD90-C271-4B84-87DD-0E1FC9DC70D5}" type="presOf" srcId="{AAC57440-70FE-4B6D-BF7C-787190697431}" destId="{553C602C-2C4F-4D1B-9F13-B0B0BE10AAB3}" srcOrd="0" destOrd="0" presId="urn:microsoft.com/office/officeart/2005/8/layout/vList2"/>
    <dgm:cxn modelId="{8801BB7B-2795-4AAA-B053-ADB6C08AF546}" srcId="{AAC57440-70FE-4B6D-BF7C-787190697431}" destId="{F5389E71-B4AF-4F5E-B249-32573820C4D6}" srcOrd="0" destOrd="0" parTransId="{DF1459D7-60A6-49E2-AD60-7A0BC07D6D6F}" sibTransId="{130DA4E4-4881-4A08-86B3-1EB58CF5B6EF}"/>
    <dgm:cxn modelId="{C7A35B1D-51F2-4F71-BBD2-1FA809555899}" type="presParOf" srcId="{EA2E1B46-256E-4363-AF1A-0C8557BCBA36}" destId="{A77B38D6-8EF8-4F56-B969-6807478B1038}" srcOrd="0" destOrd="0" presId="urn:microsoft.com/office/officeart/2005/8/layout/vList2"/>
    <dgm:cxn modelId="{AEE6BA3C-835D-4146-BA7C-F150CFC6280C}" type="presParOf" srcId="{EA2E1B46-256E-4363-AF1A-0C8557BCBA36}" destId="{D35D2B51-CDB9-456F-AB69-03B1DA780EB7}" srcOrd="1" destOrd="0" presId="urn:microsoft.com/office/officeart/2005/8/layout/vList2"/>
    <dgm:cxn modelId="{95A97DCD-D3A5-4100-8BC6-5D33D7E5DC79}" type="presParOf" srcId="{EA2E1B46-256E-4363-AF1A-0C8557BCBA36}" destId="{553C602C-2C4F-4D1B-9F13-B0B0BE10AAB3}" srcOrd="2" destOrd="0" presId="urn:microsoft.com/office/officeart/2005/8/layout/vList2"/>
    <dgm:cxn modelId="{0563EF57-80F0-4642-B2A8-D981E930D962}" type="presParOf" srcId="{EA2E1B46-256E-4363-AF1A-0C8557BCBA36}" destId="{F7BDD9D7-3CA1-4B0F-BF37-681F68515522}" srcOrd="3" destOrd="0" presId="urn:microsoft.com/office/officeart/2005/8/layout/vList2"/>
    <dgm:cxn modelId="{B72F8772-5100-4364-A470-5BE2705AD598}" type="presParOf" srcId="{EA2E1B46-256E-4363-AF1A-0C8557BCBA36}" destId="{2BC020B3-26C8-4A1B-8091-4D5E2FB5CF91}" srcOrd="4" destOrd="0" presId="urn:microsoft.com/office/officeart/2005/8/layout/vList2"/>
    <dgm:cxn modelId="{55BCDBCE-76EA-426E-840C-D5E8820E9BE7}" type="presParOf" srcId="{EA2E1B46-256E-4363-AF1A-0C8557BCBA36}" destId="{BF1F96AF-8FD5-4B03-B9C1-8BC846F81F22}" srcOrd="5" destOrd="0" presId="urn:microsoft.com/office/officeart/2005/8/layout/vList2"/>
    <dgm:cxn modelId="{C6F3BBD0-244B-4DDE-95F7-703658A4B9D6}" type="presParOf" srcId="{EA2E1B46-256E-4363-AF1A-0C8557BCBA36}" destId="{63E2AC08-A6A8-470F-9E82-6EBB82E6F30E}" srcOrd="6" destOrd="0" presId="urn:microsoft.com/office/officeart/2005/8/layout/vList2"/>
    <dgm:cxn modelId="{843FA835-3C32-4023-B2A7-FC10DC8BBAA2}" type="presParOf" srcId="{EA2E1B46-256E-4363-AF1A-0C8557BCBA36}" destId="{99918C9C-AC3F-49D5-B4D1-A9CD8AD5171C}" srcOrd="7"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 from employeeswhere age &gt; 33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9647DE2B-0865-4AB0-9902-B9979775F08E}">
      <dgm:prSet custT="1"/>
      <dgm:spPr/>
      <dgm:t>
        <a:bodyPr/>
        <a:lstStyle/>
        <a:p>
          <a:r>
            <a:rPr lang="en-US" sz="2000" dirty="0" smtClean="0">
              <a:solidFill>
                <a:srgbClr val="000000"/>
              </a:solidFill>
            </a:rPr>
            <a:t>db.employees.find({age:{$gt:33}})  </a:t>
          </a:r>
        </a:p>
      </dgm:t>
    </dgm:pt>
    <dgm:pt modelId="{55BC9FE2-35A1-401C-8A77-D9463C215C36}" type="parTrans" cxnId="{2771D5B3-5044-45D2-B0AB-9F6C30FA5873}">
      <dgm:prSet/>
      <dgm:spPr/>
      <dgm:t>
        <a:bodyPr/>
        <a:lstStyle/>
        <a:p>
          <a:endParaRPr lang="en-US" sz="2000">
            <a:solidFill>
              <a:srgbClr val="000000"/>
            </a:solidFill>
          </a:endParaRPr>
        </a:p>
      </dgm:t>
    </dgm:pt>
    <dgm:pt modelId="{D5C4DB31-4DF6-4F63-807D-5C29833419EB}" type="sibTrans" cxnId="{2771D5B3-5044-45D2-B0AB-9F6C30FA5873}">
      <dgm:prSet/>
      <dgm:spPr/>
      <dgm:t>
        <a:bodyPr/>
        <a:lstStyle/>
        <a:p>
          <a:endParaRPr lang="en-US" sz="2000">
            <a:solidFill>
              <a:srgbClr val="000000"/>
            </a:solidFill>
          </a:endParaRPr>
        </a:p>
      </dgm:t>
    </dgm:pt>
    <dgm:pt modelId="{E3C83D8F-E8E3-42E6-AB49-F0D6EDCA1DBF}">
      <dgm:prSet custT="1"/>
      <dgm:spPr/>
      <dgm:t>
        <a:bodyPr/>
        <a:lstStyle/>
        <a:p>
          <a:r>
            <a:rPr lang="en-US" sz="2000" dirty="0" smtClean="0">
              <a:solidFill>
                <a:srgbClr val="000000"/>
              </a:solidFill>
            </a:rPr>
            <a:t>Select * from employees where  age!=33 </a:t>
          </a:r>
        </a:p>
      </dgm:t>
    </dgm:pt>
    <dgm:pt modelId="{1B2BC791-7B77-4E52-97C8-6495C888CC21}" type="parTrans" cxnId="{931C6D1D-AD7A-49A6-8023-D2FE990434DD}">
      <dgm:prSet/>
      <dgm:spPr/>
      <dgm:t>
        <a:bodyPr/>
        <a:lstStyle/>
        <a:p>
          <a:endParaRPr lang="en-US" sz="2000">
            <a:solidFill>
              <a:srgbClr val="000000"/>
            </a:solidFill>
          </a:endParaRPr>
        </a:p>
      </dgm:t>
    </dgm:pt>
    <dgm:pt modelId="{1D901446-E78B-400B-8BFD-0A59A008C2DC}" type="sibTrans" cxnId="{931C6D1D-AD7A-49A6-8023-D2FE990434DD}">
      <dgm:prSet/>
      <dgm:spPr/>
      <dgm:t>
        <a:bodyPr/>
        <a:lstStyle/>
        <a:p>
          <a:endParaRPr lang="en-US" sz="2000">
            <a:solidFill>
              <a:srgbClr val="000000"/>
            </a:solidFill>
          </a:endParaRPr>
        </a:p>
      </dgm:t>
    </dgm:pt>
    <dgm:pt modelId="{AD323A2C-C0B0-4FA1-AEA6-631B0625779A}">
      <dgm:prSet custT="1"/>
      <dgm:spPr/>
      <dgm:t>
        <a:bodyPr/>
        <a:lstStyle/>
        <a:p>
          <a:r>
            <a:rPr lang="en-US" sz="2000" dirty="0" smtClean="0">
              <a:solidFill>
                <a:srgbClr val="000000"/>
              </a:solidFill>
            </a:rPr>
            <a:t>db.employees.find({age:{$ne:33}})  </a:t>
          </a:r>
        </a:p>
      </dgm:t>
    </dgm:pt>
    <dgm:pt modelId="{3B5B75B9-8A74-4FB1-8BF1-DCF9D330450F}" type="parTrans" cxnId="{D4EF80A1-69EB-4C44-9502-C04A640D55E0}">
      <dgm:prSet/>
      <dgm:spPr/>
      <dgm:t>
        <a:bodyPr/>
        <a:lstStyle/>
        <a:p>
          <a:endParaRPr lang="en-US" sz="2000">
            <a:solidFill>
              <a:srgbClr val="000000"/>
            </a:solidFill>
          </a:endParaRPr>
        </a:p>
      </dgm:t>
    </dgm:pt>
    <dgm:pt modelId="{F004DDEC-9B93-475D-ACF1-AAAB906991D9}" type="sibTrans" cxnId="{D4EF80A1-69EB-4C44-9502-C04A640D55E0}">
      <dgm:prSet/>
      <dgm:spPr/>
      <dgm:t>
        <a:bodyPr/>
        <a:lstStyle/>
        <a:p>
          <a:endParaRPr lang="en-US" sz="2000">
            <a:solidFill>
              <a:srgbClr val="000000"/>
            </a:solidFill>
          </a:endParaRPr>
        </a:p>
      </dgm:t>
    </dgm:pt>
    <dgm:pt modelId="{19F45F96-239E-4C9A-9647-7DB67F1FFAD1}">
      <dgm:prSet custT="1"/>
      <dgm:spPr/>
      <dgm:t>
        <a:bodyPr/>
        <a:lstStyle/>
        <a:p>
          <a:r>
            <a:rPr lang="en-US" sz="2000" dirty="0" smtClean="0">
              <a:solidFill>
                <a:srgbClr val="000000"/>
              </a:solidFill>
            </a:rPr>
            <a:t>Select * from employees where  name like “%Joe%” </a:t>
          </a:r>
        </a:p>
      </dgm:t>
    </dgm:pt>
    <dgm:pt modelId="{E842D8FF-F4B4-41CE-95E8-99644FBD37D0}" type="parTrans" cxnId="{E1C91BB3-16EC-420C-BD9A-6B6A6F5FA08E}">
      <dgm:prSet/>
      <dgm:spPr/>
      <dgm:t>
        <a:bodyPr/>
        <a:lstStyle/>
        <a:p>
          <a:endParaRPr lang="en-US" sz="2000">
            <a:solidFill>
              <a:srgbClr val="000000"/>
            </a:solidFill>
          </a:endParaRPr>
        </a:p>
      </dgm:t>
    </dgm:pt>
    <dgm:pt modelId="{224B3524-5B1E-4E7C-AB11-B6FC6B5F3CD1}" type="sibTrans" cxnId="{E1C91BB3-16EC-420C-BD9A-6B6A6F5FA08E}">
      <dgm:prSet/>
      <dgm:spPr/>
      <dgm:t>
        <a:bodyPr/>
        <a:lstStyle/>
        <a:p>
          <a:endParaRPr lang="en-US" sz="2000">
            <a:solidFill>
              <a:srgbClr val="000000"/>
            </a:solidFill>
          </a:endParaRPr>
        </a:p>
      </dgm:t>
    </dgm:pt>
    <dgm:pt modelId="{ADEEDC73-625F-4969-A017-AA1C91E22DB7}">
      <dgm:prSet custT="1"/>
      <dgm:spPr/>
      <dgm:t>
        <a:bodyPr/>
        <a:lstStyle/>
        <a:p>
          <a:r>
            <a:rPr lang="en-US" sz="2000" dirty="0" smtClean="0">
              <a:solidFill>
                <a:srgbClr val="000000"/>
              </a:solidFill>
            </a:rPr>
            <a:t>db.employees.find({name:/Joe/})   </a:t>
          </a:r>
        </a:p>
      </dgm:t>
    </dgm:pt>
    <dgm:pt modelId="{6FEFBF59-56C4-4A58-B277-37D843411D85}" type="parTrans" cxnId="{3CCF90B2-B1F7-4F63-A183-18DCA54F3FE1}">
      <dgm:prSet/>
      <dgm:spPr/>
      <dgm:t>
        <a:bodyPr/>
        <a:lstStyle/>
        <a:p>
          <a:endParaRPr lang="en-US" sz="2000">
            <a:solidFill>
              <a:srgbClr val="000000"/>
            </a:solidFill>
          </a:endParaRPr>
        </a:p>
      </dgm:t>
    </dgm:pt>
    <dgm:pt modelId="{CF32AF4F-795C-47D1-931A-E9ACE86E7DAF}" type="sibTrans" cxnId="{3CCF90B2-B1F7-4F63-A183-18DCA54F3FE1}">
      <dgm:prSet/>
      <dgm:spPr/>
      <dgm:t>
        <a:bodyPr/>
        <a:lstStyle/>
        <a:p>
          <a:endParaRPr lang="en-US" sz="2000">
            <a:solidFill>
              <a:srgbClr val="000000"/>
            </a:solidFill>
          </a:endParaRPr>
        </a:p>
      </dgm:t>
    </dgm:pt>
    <dgm:pt modelId="{7CBF547F-F5EF-4171-853B-B1A9709E8743}">
      <dgm:prSet custT="1"/>
      <dgm:spPr/>
      <dgm:t>
        <a:bodyPr/>
        <a:lstStyle/>
        <a:p>
          <a:r>
            <a:rPr lang="en-US" sz="2000" dirty="0" smtClean="0">
              <a:solidFill>
                <a:srgbClr val="000000"/>
              </a:solidFill>
            </a:rPr>
            <a:t>SELECT * FROM employees WHERE a=1 and b='q‘ </a:t>
          </a:r>
        </a:p>
      </dgm:t>
    </dgm:pt>
    <dgm:pt modelId="{A4812DF6-50C3-4D47-BA89-18D596614B1D}" type="parTrans" cxnId="{43803B7B-A84F-43FC-AA0E-B7D702681E6C}">
      <dgm:prSet/>
      <dgm:spPr/>
      <dgm:t>
        <a:bodyPr/>
        <a:lstStyle/>
        <a:p>
          <a:endParaRPr lang="en-US" sz="2000">
            <a:solidFill>
              <a:srgbClr val="000000"/>
            </a:solidFill>
          </a:endParaRPr>
        </a:p>
      </dgm:t>
    </dgm:pt>
    <dgm:pt modelId="{94CA6B5D-0906-420A-BDA3-7A2404CF5609}" type="sibTrans" cxnId="{43803B7B-A84F-43FC-AA0E-B7D702681E6C}">
      <dgm:prSet/>
      <dgm:spPr/>
      <dgm:t>
        <a:bodyPr/>
        <a:lstStyle/>
        <a:p>
          <a:endParaRPr lang="en-US" sz="2000">
            <a:solidFill>
              <a:srgbClr val="000000"/>
            </a:solidFill>
          </a:endParaRPr>
        </a:p>
      </dgm:t>
    </dgm:pt>
    <dgm:pt modelId="{9192F82D-C1C5-47DA-A154-58A99F6B43A9}">
      <dgm:prSet custT="1"/>
      <dgm:spPr/>
      <dgm:t>
        <a:bodyPr/>
        <a:lstStyle/>
        <a:p>
          <a:r>
            <a:rPr lang="en-US" sz="2000" dirty="0" smtClean="0">
              <a:solidFill>
                <a:srgbClr val="000000"/>
              </a:solidFill>
            </a:rPr>
            <a:t>db.employees.find({a:1,b:'q'})  </a:t>
          </a:r>
        </a:p>
      </dgm:t>
    </dgm:pt>
    <dgm:pt modelId="{144575D2-B960-49C7-BB47-F9F0788E0215}" type="parTrans" cxnId="{E890AEEF-DDE1-4305-BDA4-D491D9CDC77E}">
      <dgm:prSet/>
      <dgm:spPr/>
      <dgm:t>
        <a:bodyPr/>
        <a:lstStyle/>
        <a:p>
          <a:endParaRPr lang="en-US" sz="2000">
            <a:solidFill>
              <a:srgbClr val="000000"/>
            </a:solidFill>
          </a:endParaRPr>
        </a:p>
      </dgm:t>
    </dgm:pt>
    <dgm:pt modelId="{D11ABDA7-031B-41D9-8289-360A55CC4984}" type="sibTrans" cxnId="{E890AEEF-DDE1-4305-BDA4-D491D9CDC77E}">
      <dgm:prSet/>
      <dgm:spPr/>
      <dgm:t>
        <a:bodyPr/>
        <a:lstStyle/>
        <a:p>
          <a:endParaRPr lang="en-US" sz="2000">
            <a:solidFill>
              <a:srgbClr val="000000"/>
            </a:solidFill>
          </a:endParaRPr>
        </a:p>
      </dgm:t>
    </dgm:pt>
    <dgm:pt modelId="{E9D180F9-E51E-48C8-9FC4-38353C8FB3E4}">
      <dgm:prSet custT="1"/>
      <dgm:spPr/>
      <dgm:t>
        <a:bodyPr/>
        <a:lstStyle/>
        <a:p>
          <a:r>
            <a:rPr lang="en-US" sz="2000" dirty="0" smtClean="0">
              <a:solidFill>
                <a:srgbClr val="000000"/>
              </a:solidFill>
            </a:rPr>
            <a:t>SELECT * FROM employees WHERE a=1 or b=2 </a:t>
          </a:r>
        </a:p>
      </dgm:t>
    </dgm:pt>
    <dgm:pt modelId="{71EE4BAE-DC7E-4D0F-A548-1A82CE9E53AE}" type="parTrans" cxnId="{46C5D50B-D9FF-4DF2-B7B9-245D63667CB0}">
      <dgm:prSet/>
      <dgm:spPr/>
      <dgm:t>
        <a:bodyPr/>
        <a:lstStyle/>
        <a:p>
          <a:endParaRPr lang="en-US" sz="2000">
            <a:solidFill>
              <a:srgbClr val="000000"/>
            </a:solidFill>
          </a:endParaRPr>
        </a:p>
      </dgm:t>
    </dgm:pt>
    <dgm:pt modelId="{0A99F2CE-D554-4714-BBA5-DD40D9A18C1C}" type="sibTrans" cxnId="{46C5D50B-D9FF-4DF2-B7B9-245D63667CB0}">
      <dgm:prSet/>
      <dgm:spPr/>
      <dgm:t>
        <a:bodyPr/>
        <a:lstStyle/>
        <a:p>
          <a:endParaRPr lang="en-US" sz="2000">
            <a:solidFill>
              <a:srgbClr val="000000"/>
            </a:solidFill>
          </a:endParaRPr>
        </a:p>
      </dgm:t>
    </dgm:pt>
    <dgm:pt modelId="{0CE3CFBE-2F74-4302-BCE1-2E1A63D285E6}">
      <dgm:prSet custT="1"/>
      <dgm:spPr/>
      <dgm:t>
        <a:bodyPr/>
        <a:lstStyle/>
        <a:p>
          <a:r>
            <a:rPr lang="en-US" sz="2000" dirty="0" smtClean="0">
              <a:solidFill>
                <a:srgbClr val="000000"/>
              </a:solidFill>
            </a:rPr>
            <a:t>db.employees.find( { $or : [ { a : 1 } , { b : 2 } ] } )</a:t>
          </a:r>
        </a:p>
      </dgm:t>
    </dgm:pt>
    <dgm:pt modelId="{F9697AF5-0D27-446A-BB21-9E0D00C925DE}" type="parTrans" cxnId="{3833C735-1628-477B-A4C2-6BA7F37E1B4D}">
      <dgm:prSet/>
      <dgm:spPr/>
      <dgm:t>
        <a:bodyPr/>
        <a:lstStyle/>
        <a:p>
          <a:endParaRPr lang="en-US" sz="2000">
            <a:solidFill>
              <a:srgbClr val="000000"/>
            </a:solidFill>
          </a:endParaRPr>
        </a:p>
      </dgm:t>
    </dgm:pt>
    <dgm:pt modelId="{1543F30B-5FA1-47F6-B983-A3B58806D07C}" type="sibTrans" cxnId="{3833C735-1628-477B-A4C2-6BA7F37E1B4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0">
        <dgm:presLayoutVars>
          <dgm:chMax val="0"/>
          <dgm:bulletEnabled val="1"/>
        </dgm:presLayoutVars>
      </dgm:prSet>
      <dgm:spPr/>
      <dgm:t>
        <a:bodyPr/>
        <a:lstStyle/>
        <a:p>
          <a:endParaRPr lang="en-US"/>
        </a:p>
      </dgm:t>
    </dgm:pt>
    <dgm:pt modelId="{C2B8CC66-DC2F-4E75-B287-FA0F8B796372}" type="pres">
      <dgm:prSet presAssocID="{F03A470E-D788-4E8C-8198-3EC2B90C12B1}" presName="spacer" presStyleCnt="0"/>
      <dgm:spPr/>
    </dgm:pt>
    <dgm:pt modelId="{7DF0E90B-F299-4C47-8AFB-CFA50E0C37A3}" type="pres">
      <dgm:prSet presAssocID="{9647DE2B-0865-4AB0-9902-B9979775F08E}" presName="parentText" presStyleLbl="node1" presStyleIdx="1" presStyleCnt="10">
        <dgm:presLayoutVars>
          <dgm:chMax val="0"/>
          <dgm:bulletEnabled val="1"/>
        </dgm:presLayoutVars>
      </dgm:prSet>
      <dgm:spPr/>
      <dgm:t>
        <a:bodyPr/>
        <a:lstStyle/>
        <a:p>
          <a:endParaRPr lang="en-US"/>
        </a:p>
      </dgm:t>
    </dgm:pt>
    <dgm:pt modelId="{6AE13F26-5124-4E76-BB60-9C3290B18DD4}" type="pres">
      <dgm:prSet presAssocID="{D5C4DB31-4DF6-4F63-807D-5C29833419EB}" presName="spacer" presStyleCnt="0"/>
      <dgm:spPr/>
    </dgm:pt>
    <dgm:pt modelId="{1940ED73-10EA-4273-9164-10B507429929}" type="pres">
      <dgm:prSet presAssocID="{E3C83D8F-E8E3-42E6-AB49-F0D6EDCA1DBF}" presName="parentText" presStyleLbl="node1" presStyleIdx="2" presStyleCnt="10">
        <dgm:presLayoutVars>
          <dgm:chMax val="0"/>
          <dgm:bulletEnabled val="1"/>
        </dgm:presLayoutVars>
      </dgm:prSet>
      <dgm:spPr/>
      <dgm:t>
        <a:bodyPr/>
        <a:lstStyle/>
        <a:p>
          <a:endParaRPr lang="en-US"/>
        </a:p>
      </dgm:t>
    </dgm:pt>
    <dgm:pt modelId="{C98B0E33-A57C-480F-89E5-602057D7B27F}" type="pres">
      <dgm:prSet presAssocID="{1D901446-E78B-400B-8BFD-0A59A008C2DC}" presName="spacer" presStyleCnt="0"/>
      <dgm:spPr/>
    </dgm:pt>
    <dgm:pt modelId="{B40BDD66-73C5-4C24-B5EE-1DF21780539B}" type="pres">
      <dgm:prSet presAssocID="{AD323A2C-C0B0-4FA1-AEA6-631B0625779A}" presName="parentText" presStyleLbl="node1" presStyleIdx="3" presStyleCnt="10">
        <dgm:presLayoutVars>
          <dgm:chMax val="0"/>
          <dgm:bulletEnabled val="1"/>
        </dgm:presLayoutVars>
      </dgm:prSet>
      <dgm:spPr/>
      <dgm:t>
        <a:bodyPr/>
        <a:lstStyle/>
        <a:p>
          <a:endParaRPr lang="en-US"/>
        </a:p>
      </dgm:t>
    </dgm:pt>
    <dgm:pt modelId="{DEC308F6-2626-4C8D-9D94-8871437D1997}" type="pres">
      <dgm:prSet presAssocID="{F004DDEC-9B93-475D-ACF1-AAAB906991D9}" presName="spacer" presStyleCnt="0"/>
      <dgm:spPr/>
    </dgm:pt>
    <dgm:pt modelId="{8634BA2E-250C-41CE-B618-AAC99AF8FDF9}" type="pres">
      <dgm:prSet presAssocID="{19F45F96-239E-4C9A-9647-7DB67F1FFAD1}" presName="parentText" presStyleLbl="node1" presStyleIdx="4" presStyleCnt="10">
        <dgm:presLayoutVars>
          <dgm:chMax val="0"/>
          <dgm:bulletEnabled val="1"/>
        </dgm:presLayoutVars>
      </dgm:prSet>
      <dgm:spPr/>
      <dgm:t>
        <a:bodyPr/>
        <a:lstStyle/>
        <a:p>
          <a:endParaRPr lang="en-US"/>
        </a:p>
      </dgm:t>
    </dgm:pt>
    <dgm:pt modelId="{730ED563-FD79-42BD-BBF3-FFEFAA85F19F}" type="pres">
      <dgm:prSet presAssocID="{224B3524-5B1E-4E7C-AB11-B6FC6B5F3CD1}" presName="spacer" presStyleCnt="0"/>
      <dgm:spPr/>
    </dgm:pt>
    <dgm:pt modelId="{CE964F1A-5B26-4B3F-B5F6-08108B1B92A6}" type="pres">
      <dgm:prSet presAssocID="{ADEEDC73-625F-4969-A017-AA1C91E22DB7}" presName="parentText" presStyleLbl="node1" presStyleIdx="5" presStyleCnt="10">
        <dgm:presLayoutVars>
          <dgm:chMax val="0"/>
          <dgm:bulletEnabled val="1"/>
        </dgm:presLayoutVars>
      </dgm:prSet>
      <dgm:spPr/>
      <dgm:t>
        <a:bodyPr/>
        <a:lstStyle/>
        <a:p>
          <a:endParaRPr lang="en-US"/>
        </a:p>
      </dgm:t>
    </dgm:pt>
    <dgm:pt modelId="{3D38631F-E490-43C1-81B8-908861A66DC5}" type="pres">
      <dgm:prSet presAssocID="{CF32AF4F-795C-47D1-931A-E9ACE86E7DAF}" presName="spacer" presStyleCnt="0"/>
      <dgm:spPr/>
    </dgm:pt>
    <dgm:pt modelId="{E3FB2553-489D-465E-A454-2635EF931986}" type="pres">
      <dgm:prSet presAssocID="{7CBF547F-F5EF-4171-853B-B1A9709E8743}" presName="parentText" presStyleLbl="node1" presStyleIdx="6" presStyleCnt="10">
        <dgm:presLayoutVars>
          <dgm:chMax val="0"/>
          <dgm:bulletEnabled val="1"/>
        </dgm:presLayoutVars>
      </dgm:prSet>
      <dgm:spPr/>
      <dgm:t>
        <a:bodyPr/>
        <a:lstStyle/>
        <a:p>
          <a:endParaRPr lang="en-US"/>
        </a:p>
      </dgm:t>
    </dgm:pt>
    <dgm:pt modelId="{DDEA9FE9-711F-4A2E-A104-D228440A05B8}" type="pres">
      <dgm:prSet presAssocID="{94CA6B5D-0906-420A-BDA3-7A2404CF5609}" presName="spacer" presStyleCnt="0"/>
      <dgm:spPr/>
    </dgm:pt>
    <dgm:pt modelId="{46DB3D3B-8B1A-4A8C-A449-BECE3CB3F733}" type="pres">
      <dgm:prSet presAssocID="{9192F82D-C1C5-47DA-A154-58A99F6B43A9}" presName="parentText" presStyleLbl="node1" presStyleIdx="7" presStyleCnt="10">
        <dgm:presLayoutVars>
          <dgm:chMax val="0"/>
          <dgm:bulletEnabled val="1"/>
        </dgm:presLayoutVars>
      </dgm:prSet>
      <dgm:spPr/>
      <dgm:t>
        <a:bodyPr/>
        <a:lstStyle/>
        <a:p>
          <a:endParaRPr lang="en-US"/>
        </a:p>
      </dgm:t>
    </dgm:pt>
    <dgm:pt modelId="{CD7F6E9F-A2B0-46BF-9088-BC5AEED5710F}" type="pres">
      <dgm:prSet presAssocID="{D11ABDA7-031B-41D9-8289-360A55CC4984}" presName="spacer" presStyleCnt="0"/>
      <dgm:spPr/>
    </dgm:pt>
    <dgm:pt modelId="{56708CDC-BB68-4C64-A139-894BDBD42FC3}" type="pres">
      <dgm:prSet presAssocID="{E9D180F9-E51E-48C8-9FC4-38353C8FB3E4}" presName="parentText" presStyleLbl="node1" presStyleIdx="8" presStyleCnt="10">
        <dgm:presLayoutVars>
          <dgm:chMax val="0"/>
          <dgm:bulletEnabled val="1"/>
        </dgm:presLayoutVars>
      </dgm:prSet>
      <dgm:spPr/>
      <dgm:t>
        <a:bodyPr/>
        <a:lstStyle/>
        <a:p>
          <a:endParaRPr lang="en-US"/>
        </a:p>
      </dgm:t>
    </dgm:pt>
    <dgm:pt modelId="{8C6E352C-229F-4B7D-87D2-1AE41E1A4FAB}" type="pres">
      <dgm:prSet presAssocID="{0A99F2CE-D554-4714-BBA5-DD40D9A18C1C}" presName="spacer" presStyleCnt="0"/>
      <dgm:spPr/>
    </dgm:pt>
    <dgm:pt modelId="{ADBC60EB-7B82-47F9-9E10-BA8B239488A1}" type="pres">
      <dgm:prSet presAssocID="{0CE3CFBE-2F74-4302-BCE1-2E1A63D285E6}" presName="parentText" presStyleLbl="node1" presStyleIdx="9" presStyleCnt="10">
        <dgm:presLayoutVars>
          <dgm:chMax val="0"/>
          <dgm:bulletEnabled val="1"/>
        </dgm:presLayoutVars>
      </dgm:prSet>
      <dgm:spPr/>
      <dgm:t>
        <a:bodyPr/>
        <a:lstStyle/>
        <a:p>
          <a:endParaRPr lang="en-US"/>
        </a:p>
      </dgm:t>
    </dgm:pt>
  </dgm:ptLst>
  <dgm:cxnLst>
    <dgm:cxn modelId="{77C19357-6EE8-48BC-9D93-A5A310EDBA9F}" type="presOf" srcId="{9647DE2B-0865-4AB0-9902-B9979775F08E}" destId="{7DF0E90B-F299-4C47-8AFB-CFA50E0C37A3}" srcOrd="0" destOrd="0" presId="urn:microsoft.com/office/officeart/2005/8/layout/vList2"/>
    <dgm:cxn modelId="{72625C13-7D08-4F1D-BA7C-D6B31506EBE9}"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A8ED884E-3219-4DE7-981D-0DEC58605383}" type="presOf" srcId="{19F45F96-239E-4C9A-9647-7DB67F1FFAD1}" destId="{8634BA2E-250C-41CE-B618-AAC99AF8FDF9}" srcOrd="0" destOrd="0" presId="urn:microsoft.com/office/officeart/2005/8/layout/vList2"/>
    <dgm:cxn modelId="{3833C735-1628-477B-A4C2-6BA7F37E1B4D}" srcId="{29B1402D-A153-4C5A-BE98-8D9F1780C5D8}" destId="{0CE3CFBE-2F74-4302-BCE1-2E1A63D285E6}" srcOrd="9" destOrd="0" parTransId="{F9697AF5-0D27-446A-BB21-9E0D00C925DE}" sibTransId="{1543F30B-5FA1-47F6-B983-A3B58806D07C}"/>
    <dgm:cxn modelId="{2771D5B3-5044-45D2-B0AB-9F6C30FA5873}" srcId="{29B1402D-A153-4C5A-BE98-8D9F1780C5D8}" destId="{9647DE2B-0865-4AB0-9902-B9979775F08E}" srcOrd="1" destOrd="0" parTransId="{55BC9FE2-35A1-401C-8A77-D9463C215C36}" sibTransId="{D5C4DB31-4DF6-4F63-807D-5C29833419EB}"/>
    <dgm:cxn modelId="{3CCF90B2-B1F7-4F63-A183-18DCA54F3FE1}" srcId="{29B1402D-A153-4C5A-BE98-8D9F1780C5D8}" destId="{ADEEDC73-625F-4969-A017-AA1C91E22DB7}" srcOrd="5" destOrd="0" parTransId="{6FEFBF59-56C4-4A58-B277-37D843411D85}" sibTransId="{CF32AF4F-795C-47D1-931A-E9ACE86E7DAF}"/>
    <dgm:cxn modelId="{AC91DDE5-62AB-496C-A246-DFA6F53D28D3}" type="presOf" srcId="{0CE3CFBE-2F74-4302-BCE1-2E1A63D285E6}" destId="{ADBC60EB-7B82-47F9-9E10-BA8B239488A1}" srcOrd="0" destOrd="0" presId="urn:microsoft.com/office/officeart/2005/8/layout/vList2"/>
    <dgm:cxn modelId="{43803B7B-A84F-43FC-AA0E-B7D702681E6C}" srcId="{29B1402D-A153-4C5A-BE98-8D9F1780C5D8}" destId="{7CBF547F-F5EF-4171-853B-B1A9709E8743}" srcOrd="6" destOrd="0" parTransId="{A4812DF6-50C3-4D47-BA89-18D596614B1D}" sibTransId="{94CA6B5D-0906-420A-BDA3-7A2404CF5609}"/>
    <dgm:cxn modelId="{D4EF80A1-69EB-4C44-9502-C04A640D55E0}" srcId="{29B1402D-A153-4C5A-BE98-8D9F1780C5D8}" destId="{AD323A2C-C0B0-4FA1-AEA6-631B0625779A}" srcOrd="3" destOrd="0" parTransId="{3B5B75B9-8A74-4FB1-8BF1-DCF9D330450F}" sibTransId="{F004DDEC-9B93-475D-ACF1-AAAB906991D9}"/>
    <dgm:cxn modelId="{B5C6B93F-D4BB-4828-8C0F-6912C7C62F35}" type="presOf" srcId="{7CBF547F-F5EF-4171-853B-B1A9709E8743}" destId="{E3FB2553-489D-465E-A454-2635EF931986}" srcOrd="0" destOrd="0" presId="urn:microsoft.com/office/officeart/2005/8/layout/vList2"/>
    <dgm:cxn modelId="{4355165E-0107-4B9C-AEB4-7B11416FBE46}" type="presOf" srcId="{E3C83D8F-E8E3-42E6-AB49-F0D6EDCA1DBF}" destId="{1940ED73-10EA-4273-9164-10B507429929}" srcOrd="0" destOrd="0" presId="urn:microsoft.com/office/officeart/2005/8/layout/vList2"/>
    <dgm:cxn modelId="{20915936-BF27-494A-94BB-91B02B505737}" type="presOf" srcId="{ADEEDC73-625F-4969-A017-AA1C91E22DB7}" destId="{CE964F1A-5B26-4B3F-B5F6-08108B1B92A6}" srcOrd="0" destOrd="0" presId="urn:microsoft.com/office/officeart/2005/8/layout/vList2"/>
    <dgm:cxn modelId="{46C5D50B-D9FF-4DF2-B7B9-245D63667CB0}" srcId="{29B1402D-A153-4C5A-BE98-8D9F1780C5D8}" destId="{E9D180F9-E51E-48C8-9FC4-38353C8FB3E4}" srcOrd="8" destOrd="0" parTransId="{71EE4BAE-DC7E-4D0F-A548-1A82CE9E53AE}" sibTransId="{0A99F2CE-D554-4714-BBA5-DD40D9A18C1C}"/>
    <dgm:cxn modelId="{E890AEEF-DDE1-4305-BDA4-D491D9CDC77E}" srcId="{29B1402D-A153-4C5A-BE98-8D9F1780C5D8}" destId="{9192F82D-C1C5-47DA-A154-58A99F6B43A9}" srcOrd="7" destOrd="0" parTransId="{144575D2-B960-49C7-BB47-F9F0788E0215}" sibTransId="{D11ABDA7-031B-41D9-8289-360A55CC4984}"/>
    <dgm:cxn modelId="{E2CC116F-DA58-4538-8B82-FAE46EE4A58E}" type="presOf" srcId="{AD323A2C-C0B0-4FA1-AEA6-631B0625779A}" destId="{B40BDD66-73C5-4C24-B5EE-1DF21780539B}" srcOrd="0" destOrd="0" presId="urn:microsoft.com/office/officeart/2005/8/layout/vList2"/>
    <dgm:cxn modelId="{E1C91BB3-16EC-420C-BD9A-6B6A6F5FA08E}" srcId="{29B1402D-A153-4C5A-BE98-8D9F1780C5D8}" destId="{19F45F96-239E-4C9A-9647-7DB67F1FFAD1}" srcOrd="4" destOrd="0" parTransId="{E842D8FF-F4B4-41CE-95E8-99644FBD37D0}" sibTransId="{224B3524-5B1E-4E7C-AB11-B6FC6B5F3CD1}"/>
    <dgm:cxn modelId="{9F0CC338-E4BC-42B0-A437-FFB30E8236AA}" type="presOf" srcId="{9192F82D-C1C5-47DA-A154-58A99F6B43A9}" destId="{46DB3D3B-8B1A-4A8C-A449-BECE3CB3F733}" srcOrd="0" destOrd="0" presId="urn:microsoft.com/office/officeart/2005/8/layout/vList2"/>
    <dgm:cxn modelId="{931C6D1D-AD7A-49A6-8023-D2FE990434DD}" srcId="{29B1402D-A153-4C5A-BE98-8D9F1780C5D8}" destId="{E3C83D8F-E8E3-42E6-AB49-F0D6EDCA1DBF}" srcOrd="2" destOrd="0" parTransId="{1B2BC791-7B77-4E52-97C8-6495C888CC21}" sibTransId="{1D901446-E78B-400B-8BFD-0A59A008C2DC}"/>
    <dgm:cxn modelId="{FC6B8B0B-8EBF-4A70-A8F4-7DDAF3CC2CE1}" type="presOf" srcId="{29B1402D-A153-4C5A-BE98-8D9F1780C5D8}" destId="{EA2E1B46-256E-4363-AF1A-0C8557BCBA36}" srcOrd="0" destOrd="0" presId="urn:microsoft.com/office/officeart/2005/8/layout/vList2"/>
    <dgm:cxn modelId="{6D4B1052-2DB3-490C-B81C-E27702FCD49A}" type="presOf" srcId="{E9D180F9-E51E-48C8-9FC4-38353C8FB3E4}" destId="{56708CDC-BB68-4C64-A139-894BDBD42FC3}" srcOrd="0" destOrd="0" presId="urn:microsoft.com/office/officeart/2005/8/layout/vList2"/>
    <dgm:cxn modelId="{A0B944BA-7F2E-408E-B901-A9266F6F4906}" type="presParOf" srcId="{EA2E1B46-256E-4363-AF1A-0C8557BCBA36}" destId="{A77B38D6-8EF8-4F56-B969-6807478B1038}" srcOrd="0" destOrd="0" presId="urn:microsoft.com/office/officeart/2005/8/layout/vList2"/>
    <dgm:cxn modelId="{BDD1C2DA-0042-463C-BBDA-D0B543682BC0}" type="presParOf" srcId="{EA2E1B46-256E-4363-AF1A-0C8557BCBA36}" destId="{C2B8CC66-DC2F-4E75-B287-FA0F8B796372}" srcOrd="1" destOrd="0" presId="urn:microsoft.com/office/officeart/2005/8/layout/vList2"/>
    <dgm:cxn modelId="{AAB027EB-73CF-42A0-8C6A-1F3F23ACC15A}" type="presParOf" srcId="{EA2E1B46-256E-4363-AF1A-0C8557BCBA36}" destId="{7DF0E90B-F299-4C47-8AFB-CFA50E0C37A3}" srcOrd="2" destOrd="0" presId="urn:microsoft.com/office/officeart/2005/8/layout/vList2"/>
    <dgm:cxn modelId="{5FBB2B26-A569-46AA-9F97-C0B7ADBF9295}" type="presParOf" srcId="{EA2E1B46-256E-4363-AF1A-0C8557BCBA36}" destId="{6AE13F26-5124-4E76-BB60-9C3290B18DD4}" srcOrd="3" destOrd="0" presId="urn:microsoft.com/office/officeart/2005/8/layout/vList2"/>
    <dgm:cxn modelId="{6C55B443-FDEC-4911-8CCC-FE16E0E9E52E}" type="presParOf" srcId="{EA2E1B46-256E-4363-AF1A-0C8557BCBA36}" destId="{1940ED73-10EA-4273-9164-10B507429929}" srcOrd="4" destOrd="0" presId="urn:microsoft.com/office/officeart/2005/8/layout/vList2"/>
    <dgm:cxn modelId="{604F582E-DC74-4654-ACC6-158B9118898B}" type="presParOf" srcId="{EA2E1B46-256E-4363-AF1A-0C8557BCBA36}" destId="{C98B0E33-A57C-480F-89E5-602057D7B27F}" srcOrd="5" destOrd="0" presId="urn:microsoft.com/office/officeart/2005/8/layout/vList2"/>
    <dgm:cxn modelId="{D8BA6A11-732E-46B1-873D-2B8733A9519A}" type="presParOf" srcId="{EA2E1B46-256E-4363-AF1A-0C8557BCBA36}" destId="{B40BDD66-73C5-4C24-B5EE-1DF21780539B}" srcOrd="6" destOrd="0" presId="urn:microsoft.com/office/officeart/2005/8/layout/vList2"/>
    <dgm:cxn modelId="{20C3FF5F-F4DE-4E9C-B1A8-17DA33D4276E}" type="presParOf" srcId="{EA2E1B46-256E-4363-AF1A-0C8557BCBA36}" destId="{DEC308F6-2626-4C8D-9D94-8871437D1997}" srcOrd="7" destOrd="0" presId="urn:microsoft.com/office/officeart/2005/8/layout/vList2"/>
    <dgm:cxn modelId="{2E3CA173-2D2B-4027-9EBD-E053C3D2563B}" type="presParOf" srcId="{EA2E1B46-256E-4363-AF1A-0C8557BCBA36}" destId="{8634BA2E-250C-41CE-B618-AAC99AF8FDF9}" srcOrd="8" destOrd="0" presId="urn:microsoft.com/office/officeart/2005/8/layout/vList2"/>
    <dgm:cxn modelId="{7C5BB54B-72A4-4C68-9E4D-E39B255544ED}" type="presParOf" srcId="{EA2E1B46-256E-4363-AF1A-0C8557BCBA36}" destId="{730ED563-FD79-42BD-BBF3-FFEFAA85F19F}" srcOrd="9" destOrd="0" presId="urn:microsoft.com/office/officeart/2005/8/layout/vList2"/>
    <dgm:cxn modelId="{7943297F-FD48-4B6D-80D9-AE12A49C196F}" type="presParOf" srcId="{EA2E1B46-256E-4363-AF1A-0C8557BCBA36}" destId="{CE964F1A-5B26-4B3F-B5F6-08108B1B92A6}" srcOrd="10" destOrd="0" presId="urn:microsoft.com/office/officeart/2005/8/layout/vList2"/>
    <dgm:cxn modelId="{04F12416-B2E0-4D6C-8F85-884F765D13DA}" type="presParOf" srcId="{EA2E1B46-256E-4363-AF1A-0C8557BCBA36}" destId="{3D38631F-E490-43C1-81B8-908861A66DC5}" srcOrd="11" destOrd="0" presId="urn:microsoft.com/office/officeart/2005/8/layout/vList2"/>
    <dgm:cxn modelId="{5332BB9E-DE6B-453F-B8B9-BB56A229D106}" type="presParOf" srcId="{EA2E1B46-256E-4363-AF1A-0C8557BCBA36}" destId="{E3FB2553-489D-465E-A454-2635EF931986}" srcOrd="12" destOrd="0" presId="urn:microsoft.com/office/officeart/2005/8/layout/vList2"/>
    <dgm:cxn modelId="{B24B70FF-66DF-4119-85A1-03A5F86D542D}" type="presParOf" srcId="{EA2E1B46-256E-4363-AF1A-0C8557BCBA36}" destId="{DDEA9FE9-711F-4A2E-A104-D228440A05B8}" srcOrd="13" destOrd="0" presId="urn:microsoft.com/office/officeart/2005/8/layout/vList2"/>
    <dgm:cxn modelId="{6BC4082B-0A42-455F-9C69-D43C530ED21C}" type="presParOf" srcId="{EA2E1B46-256E-4363-AF1A-0C8557BCBA36}" destId="{46DB3D3B-8B1A-4A8C-A449-BECE3CB3F733}" srcOrd="14" destOrd="0" presId="urn:microsoft.com/office/officeart/2005/8/layout/vList2"/>
    <dgm:cxn modelId="{5345205E-3C07-4340-9827-D0C7C5052F5A}" type="presParOf" srcId="{EA2E1B46-256E-4363-AF1A-0C8557BCBA36}" destId="{CD7F6E9F-A2B0-46BF-9088-BC5AEED5710F}" srcOrd="15" destOrd="0" presId="urn:microsoft.com/office/officeart/2005/8/layout/vList2"/>
    <dgm:cxn modelId="{F7469556-E1AB-432A-BA3C-0711240D29F2}" type="presParOf" srcId="{EA2E1B46-256E-4363-AF1A-0C8557BCBA36}" destId="{56708CDC-BB68-4C64-A139-894BDBD42FC3}" srcOrd="16" destOrd="0" presId="urn:microsoft.com/office/officeart/2005/8/layout/vList2"/>
    <dgm:cxn modelId="{77FB0752-60FF-4E27-8EB6-30897A3F5659}" type="presParOf" srcId="{EA2E1B46-256E-4363-AF1A-0C8557BCBA36}" destId="{8C6E352C-229F-4B7D-87D2-1AE41E1A4FAB}" srcOrd="17" destOrd="0" presId="urn:microsoft.com/office/officeart/2005/8/layout/vList2"/>
    <dgm:cxn modelId="{7C116EF4-817A-41F3-82D8-000CBEC5AFA3}" type="presParOf" srcId="{EA2E1B46-256E-4363-AF1A-0C8557BCBA36}" destId="{ADBC60EB-7B82-47F9-9E10-BA8B239488A1}" srcOrd="1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name from employees where salary &gt; 10000</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4F41A0C-2A7B-40A7-B3EC-8BEB4E652AC0}">
      <dgm:prSet custT="1"/>
      <dgm:spPr/>
      <dgm:t>
        <a:bodyPr/>
        <a:lstStyle/>
        <a:p>
          <a:r>
            <a:rPr lang="en-US" sz="2000" dirty="0" smtClean="0">
              <a:solidFill>
                <a:srgbClr val="000000"/>
              </a:solidFill>
            </a:rPr>
            <a:t>db.employees.find({salary  : {$gt :10000 }} )</a:t>
          </a:r>
        </a:p>
      </dgm:t>
    </dgm:pt>
    <dgm:pt modelId="{A946068F-8F1C-411A-83FD-134814776124}" type="parTrans" cxnId="{31FF0108-138E-47F2-BCEF-FAEF89FE8999}">
      <dgm:prSet/>
      <dgm:spPr/>
      <dgm:t>
        <a:bodyPr/>
        <a:lstStyle/>
        <a:p>
          <a:endParaRPr lang="en-US" sz="2000">
            <a:solidFill>
              <a:srgbClr val="000000"/>
            </a:solidFill>
          </a:endParaRPr>
        </a:p>
      </dgm:t>
    </dgm:pt>
    <dgm:pt modelId="{C426701C-EC1D-45DF-95B8-6843FDC7B696}" type="sibTrans" cxnId="{31FF0108-138E-47F2-BCEF-FAEF89FE8999}">
      <dgm:prSet/>
      <dgm:spPr/>
      <dgm:t>
        <a:bodyPr/>
        <a:lstStyle/>
        <a:p>
          <a:endParaRPr lang="en-US" sz="2000">
            <a:solidFill>
              <a:srgbClr val="000000"/>
            </a:solidFill>
          </a:endParaRPr>
        </a:p>
      </dgm:t>
    </dgm:pt>
    <dgm:pt modelId="{ED7F061D-661F-4C95-810F-FA53E84544EF}">
      <dgm:prSet custT="1"/>
      <dgm:spPr/>
      <dgm:t>
        <a:bodyPr/>
        <a:lstStyle/>
        <a:p>
          <a:r>
            <a:rPr lang="en-US" sz="2000" dirty="0" smtClean="0">
              <a:solidFill>
                <a:srgbClr val="000000"/>
              </a:solidFill>
            </a:rPr>
            <a:t>Select firstname from employee where  salary &lt;=50000</a:t>
          </a:r>
        </a:p>
      </dgm:t>
    </dgm:pt>
    <dgm:pt modelId="{4F3B9CE9-E898-4E40-A04A-4B32F93B2302}" type="parTrans" cxnId="{63F16B2C-72AE-4DAC-A7A0-4EC9A8B916F3}">
      <dgm:prSet/>
      <dgm:spPr/>
      <dgm:t>
        <a:bodyPr/>
        <a:lstStyle/>
        <a:p>
          <a:endParaRPr lang="en-US" sz="2000">
            <a:solidFill>
              <a:srgbClr val="000000"/>
            </a:solidFill>
          </a:endParaRPr>
        </a:p>
      </dgm:t>
    </dgm:pt>
    <dgm:pt modelId="{3E5B4043-4C9B-4C32-BCD1-91D829CCE622}" type="sibTrans" cxnId="{63F16B2C-72AE-4DAC-A7A0-4EC9A8B916F3}">
      <dgm:prSet/>
      <dgm:spPr/>
      <dgm:t>
        <a:bodyPr/>
        <a:lstStyle/>
        <a:p>
          <a:endParaRPr lang="en-US" sz="2000">
            <a:solidFill>
              <a:srgbClr val="000000"/>
            </a:solidFill>
          </a:endParaRPr>
        </a:p>
      </dgm:t>
    </dgm:pt>
    <dgm:pt modelId="{5E56C822-CAD6-4F4E-A037-587DF9869BC1}">
      <dgm:prSet custT="1"/>
      <dgm:spPr/>
      <dgm:t>
        <a:bodyPr/>
        <a:lstStyle/>
        <a:p>
          <a:r>
            <a:rPr lang="en-US" sz="2000" dirty="0" smtClean="0">
              <a:solidFill>
                <a:srgbClr val="000000"/>
              </a:solidFill>
            </a:rPr>
            <a:t>db.employee.find({salary : {lte :50000}} )</a:t>
          </a:r>
        </a:p>
      </dgm:t>
    </dgm:pt>
    <dgm:pt modelId="{5AE89236-0F5C-4EF0-B391-C433C4E4FD95}" type="parTrans" cxnId="{3D71D89E-CFFA-4C72-8F3B-4D74DCC148AB}">
      <dgm:prSet/>
      <dgm:spPr/>
      <dgm:t>
        <a:bodyPr/>
        <a:lstStyle/>
        <a:p>
          <a:endParaRPr lang="en-US" sz="2000">
            <a:solidFill>
              <a:srgbClr val="000000"/>
            </a:solidFill>
          </a:endParaRPr>
        </a:p>
      </dgm:t>
    </dgm:pt>
    <dgm:pt modelId="{35243BED-DF38-458B-B617-9209C77E3F57}" type="sibTrans" cxnId="{3D71D89E-CFFA-4C72-8F3B-4D74DCC148AB}">
      <dgm:prSet/>
      <dgm:spPr/>
      <dgm:t>
        <a:bodyPr/>
        <a:lstStyle/>
        <a:p>
          <a:endParaRPr lang="en-US" sz="2000">
            <a:solidFill>
              <a:srgbClr val="000000"/>
            </a:solidFill>
          </a:endParaRPr>
        </a:p>
      </dgm:t>
    </dgm:pt>
    <dgm:pt modelId="{47D055DD-0A3E-45E2-A023-BB31A96D377A}">
      <dgm:prSet custT="1"/>
      <dgm:spPr/>
      <dgm:t>
        <a:bodyPr/>
        <a:lstStyle/>
        <a:p>
          <a:r>
            <a:rPr lang="en-US" sz="2000" dirty="0" smtClean="0">
              <a:solidFill>
                <a:srgbClr val="000000"/>
              </a:solidFill>
            </a:rPr>
            <a:t>Select * from employee where salary = 2000 and age =26</a:t>
          </a:r>
        </a:p>
      </dgm:t>
    </dgm:pt>
    <dgm:pt modelId="{DFB68490-DD34-4ECE-B32B-71426DA760A3}" type="parTrans" cxnId="{31349C75-D084-4EEC-8018-ADE42C2D6A79}">
      <dgm:prSet/>
      <dgm:spPr/>
      <dgm:t>
        <a:bodyPr/>
        <a:lstStyle/>
        <a:p>
          <a:endParaRPr lang="en-US" sz="2000">
            <a:solidFill>
              <a:srgbClr val="000000"/>
            </a:solidFill>
          </a:endParaRPr>
        </a:p>
      </dgm:t>
    </dgm:pt>
    <dgm:pt modelId="{1C40997F-F96E-475A-B693-338DD18CB1B7}" type="sibTrans" cxnId="{31349C75-D084-4EEC-8018-ADE42C2D6A79}">
      <dgm:prSet/>
      <dgm:spPr/>
      <dgm:t>
        <a:bodyPr/>
        <a:lstStyle/>
        <a:p>
          <a:endParaRPr lang="en-US" sz="2000">
            <a:solidFill>
              <a:srgbClr val="000000"/>
            </a:solidFill>
          </a:endParaRPr>
        </a:p>
      </dgm:t>
    </dgm:pt>
    <dgm:pt modelId="{5339C3C1-227B-4877-9574-C4A1A26C1F1E}">
      <dgm:prSet custT="1"/>
      <dgm:spPr/>
      <dgm:t>
        <a:bodyPr/>
        <a:lstStyle/>
        <a:p>
          <a:r>
            <a:rPr lang="en-US" sz="2000" dirty="0" smtClean="0">
              <a:solidFill>
                <a:srgbClr val="000000"/>
              </a:solidFill>
            </a:rPr>
            <a:t>db.emp.find({ $and  : [{salary :2000},{age : 26 }]})</a:t>
          </a:r>
        </a:p>
      </dgm:t>
    </dgm:pt>
    <dgm:pt modelId="{AE986A4A-14AA-4F23-81EE-4391312DE234}" type="parTrans" cxnId="{4F5796C5-3E83-4E0B-9DAD-18A9D98A1E85}">
      <dgm:prSet/>
      <dgm:spPr/>
      <dgm:t>
        <a:bodyPr/>
        <a:lstStyle/>
        <a:p>
          <a:endParaRPr lang="en-US" sz="2000">
            <a:solidFill>
              <a:srgbClr val="000000"/>
            </a:solidFill>
          </a:endParaRPr>
        </a:p>
      </dgm:t>
    </dgm:pt>
    <dgm:pt modelId="{C829C378-9178-41E5-89FE-F9F1ED447321}" type="sibTrans" cxnId="{4F5796C5-3E83-4E0B-9DAD-18A9D98A1E85}">
      <dgm:prSet/>
      <dgm:spPr/>
      <dgm:t>
        <a:bodyPr/>
        <a:lstStyle/>
        <a:p>
          <a:endParaRPr lang="en-US" sz="2000">
            <a:solidFill>
              <a:srgbClr val="000000"/>
            </a:solidFill>
          </a:endParaRPr>
        </a:p>
      </dgm:t>
    </dgm:pt>
    <dgm:pt modelId="{F876B354-24F3-4711-82C6-788DC5FAEF89}">
      <dgm:prSet custT="1"/>
      <dgm:spPr/>
      <dgm:t>
        <a:bodyPr/>
        <a:lstStyle/>
        <a:p>
          <a:r>
            <a:rPr lang="en-US" sz="2000" dirty="0" smtClean="0">
              <a:solidFill>
                <a:srgbClr val="000000"/>
              </a:solidFill>
            </a:rPr>
            <a:t>Select  * from employee where salary =2000 or age =26</a:t>
          </a:r>
        </a:p>
      </dgm:t>
    </dgm:pt>
    <dgm:pt modelId="{081D4E13-3E98-417E-88B4-19C4D4194E28}" type="parTrans" cxnId="{CFAA1486-0A9B-473E-A401-E0541DC68E78}">
      <dgm:prSet/>
      <dgm:spPr/>
      <dgm:t>
        <a:bodyPr/>
        <a:lstStyle/>
        <a:p>
          <a:endParaRPr lang="en-US" sz="2000">
            <a:solidFill>
              <a:srgbClr val="000000"/>
            </a:solidFill>
          </a:endParaRPr>
        </a:p>
      </dgm:t>
    </dgm:pt>
    <dgm:pt modelId="{D5F26D46-8B6F-4B11-BCF1-035C12703FA0}" type="sibTrans" cxnId="{CFAA1486-0A9B-473E-A401-E0541DC68E78}">
      <dgm:prSet/>
      <dgm:spPr/>
      <dgm:t>
        <a:bodyPr/>
        <a:lstStyle/>
        <a:p>
          <a:endParaRPr lang="en-US" sz="2000">
            <a:solidFill>
              <a:srgbClr val="000000"/>
            </a:solidFill>
          </a:endParaRPr>
        </a:p>
      </dgm:t>
    </dgm:pt>
    <dgm:pt modelId="{6A5EE0C5-915D-4BE2-9584-6A1A7A19ED9E}">
      <dgm:prSet custT="1"/>
      <dgm:spPr/>
      <dgm:t>
        <a:bodyPr/>
        <a:lstStyle/>
        <a:p>
          <a:r>
            <a:rPr lang="en-US" sz="2000" dirty="0" smtClean="0">
              <a:solidFill>
                <a:srgbClr val="000000"/>
              </a:solidFill>
            </a:rPr>
            <a:t>db.employees.find({“$or”:[{“salary”:2000},{“age”:26}]})</a:t>
          </a:r>
          <a:endParaRPr lang="en-US" sz="2000" dirty="0">
            <a:solidFill>
              <a:srgbClr val="000000"/>
            </a:solidFill>
          </a:endParaRPr>
        </a:p>
      </dgm:t>
    </dgm:pt>
    <dgm:pt modelId="{314E2C20-A539-415F-898E-6BAF36A5FA58}" type="parTrans" cxnId="{EEB21E79-60AC-4DEE-AEB9-A2016FB790AD}">
      <dgm:prSet/>
      <dgm:spPr/>
      <dgm:t>
        <a:bodyPr/>
        <a:lstStyle/>
        <a:p>
          <a:endParaRPr lang="en-US" sz="2000">
            <a:solidFill>
              <a:srgbClr val="000000"/>
            </a:solidFill>
          </a:endParaRPr>
        </a:p>
      </dgm:t>
    </dgm:pt>
    <dgm:pt modelId="{C7337B22-B428-4C15-B7A5-1BBF1DAEA6F8}" type="sibTrans" cxnId="{EEB21E79-60AC-4DEE-AEB9-A2016FB790A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8" custScaleY="160975">
        <dgm:presLayoutVars>
          <dgm:chMax val="0"/>
          <dgm:bulletEnabled val="1"/>
        </dgm:presLayoutVars>
      </dgm:prSet>
      <dgm:spPr/>
      <dgm:t>
        <a:bodyPr/>
        <a:lstStyle/>
        <a:p>
          <a:endParaRPr lang="en-US"/>
        </a:p>
      </dgm:t>
    </dgm:pt>
    <dgm:pt modelId="{5EA0B79F-CFB8-42D2-8EC9-54CF8352C64D}" type="pres">
      <dgm:prSet presAssocID="{F03A470E-D788-4E8C-8198-3EC2B90C12B1}" presName="spacer" presStyleCnt="0"/>
      <dgm:spPr/>
    </dgm:pt>
    <dgm:pt modelId="{B86AA557-CE9C-49BF-B03B-36F4240EAA66}" type="pres">
      <dgm:prSet presAssocID="{44F41A0C-2A7B-40A7-B3EC-8BEB4E652AC0}" presName="parentText" presStyleLbl="node1" presStyleIdx="1" presStyleCnt="8">
        <dgm:presLayoutVars>
          <dgm:chMax val="0"/>
          <dgm:bulletEnabled val="1"/>
        </dgm:presLayoutVars>
      </dgm:prSet>
      <dgm:spPr/>
      <dgm:t>
        <a:bodyPr/>
        <a:lstStyle/>
        <a:p>
          <a:endParaRPr lang="en-US"/>
        </a:p>
      </dgm:t>
    </dgm:pt>
    <dgm:pt modelId="{55140289-075B-4908-947E-02E96A4A80EF}" type="pres">
      <dgm:prSet presAssocID="{C426701C-EC1D-45DF-95B8-6843FDC7B696}" presName="spacer" presStyleCnt="0"/>
      <dgm:spPr/>
    </dgm:pt>
    <dgm:pt modelId="{F6AADD40-1F84-4F74-AAC7-A2883E3D1BE6}" type="pres">
      <dgm:prSet presAssocID="{ED7F061D-661F-4C95-810F-FA53E84544EF}" presName="parentText" presStyleLbl="node1" presStyleIdx="2" presStyleCnt="8">
        <dgm:presLayoutVars>
          <dgm:chMax val="0"/>
          <dgm:bulletEnabled val="1"/>
        </dgm:presLayoutVars>
      </dgm:prSet>
      <dgm:spPr/>
      <dgm:t>
        <a:bodyPr/>
        <a:lstStyle/>
        <a:p>
          <a:endParaRPr lang="en-US"/>
        </a:p>
      </dgm:t>
    </dgm:pt>
    <dgm:pt modelId="{68CE9EC5-90F3-4CAC-A6FC-A52FEE195D70}" type="pres">
      <dgm:prSet presAssocID="{3E5B4043-4C9B-4C32-BCD1-91D829CCE622}" presName="spacer" presStyleCnt="0"/>
      <dgm:spPr/>
    </dgm:pt>
    <dgm:pt modelId="{DC47DEB8-FE98-4F43-A066-58C03B93028E}" type="pres">
      <dgm:prSet presAssocID="{5E56C822-CAD6-4F4E-A037-587DF9869BC1}" presName="parentText" presStyleLbl="node1" presStyleIdx="3" presStyleCnt="8">
        <dgm:presLayoutVars>
          <dgm:chMax val="0"/>
          <dgm:bulletEnabled val="1"/>
        </dgm:presLayoutVars>
      </dgm:prSet>
      <dgm:spPr/>
      <dgm:t>
        <a:bodyPr/>
        <a:lstStyle/>
        <a:p>
          <a:endParaRPr lang="en-US"/>
        </a:p>
      </dgm:t>
    </dgm:pt>
    <dgm:pt modelId="{031F2820-1013-4704-BB9A-EC08DD15447D}" type="pres">
      <dgm:prSet presAssocID="{35243BED-DF38-458B-B617-9209C77E3F57}" presName="spacer" presStyleCnt="0"/>
      <dgm:spPr/>
    </dgm:pt>
    <dgm:pt modelId="{652F038F-A09B-4D65-AEE8-DCBC5B29702E}" type="pres">
      <dgm:prSet presAssocID="{47D055DD-0A3E-45E2-A023-BB31A96D377A}" presName="parentText" presStyleLbl="node1" presStyleIdx="4" presStyleCnt="8" custScaleY="114125">
        <dgm:presLayoutVars>
          <dgm:chMax val="0"/>
          <dgm:bulletEnabled val="1"/>
        </dgm:presLayoutVars>
      </dgm:prSet>
      <dgm:spPr/>
      <dgm:t>
        <a:bodyPr/>
        <a:lstStyle/>
        <a:p>
          <a:endParaRPr lang="en-US"/>
        </a:p>
      </dgm:t>
    </dgm:pt>
    <dgm:pt modelId="{A8458207-2F61-467E-A38E-9D8932D2DB5F}" type="pres">
      <dgm:prSet presAssocID="{1C40997F-F96E-475A-B693-338DD18CB1B7}" presName="spacer" presStyleCnt="0"/>
      <dgm:spPr/>
    </dgm:pt>
    <dgm:pt modelId="{A59D1415-F54B-4C6A-801D-85A08EC69BFB}" type="pres">
      <dgm:prSet presAssocID="{5339C3C1-227B-4877-9574-C4A1A26C1F1E}" presName="parentText" presStyleLbl="node1" presStyleIdx="5" presStyleCnt="8">
        <dgm:presLayoutVars>
          <dgm:chMax val="0"/>
          <dgm:bulletEnabled val="1"/>
        </dgm:presLayoutVars>
      </dgm:prSet>
      <dgm:spPr/>
      <dgm:t>
        <a:bodyPr/>
        <a:lstStyle/>
        <a:p>
          <a:endParaRPr lang="en-US"/>
        </a:p>
      </dgm:t>
    </dgm:pt>
    <dgm:pt modelId="{0C68473A-FE20-41F3-81C3-296A052FD1E7}" type="pres">
      <dgm:prSet presAssocID="{C829C378-9178-41E5-89FE-F9F1ED447321}" presName="spacer" presStyleCnt="0"/>
      <dgm:spPr/>
    </dgm:pt>
    <dgm:pt modelId="{6C931AB7-9C62-419A-94E2-77A1CCB3F609}" type="pres">
      <dgm:prSet presAssocID="{F876B354-24F3-4711-82C6-788DC5FAEF89}" presName="parentText" presStyleLbl="node1" presStyleIdx="6" presStyleCnt="8">
        <dgm:presLayoutVars>
          <dgm:chMax val="0"/>
          <dgm:bulletEnabled val="1"/>
        </dgm:presLayoutVars>
      </dgm:prSet>
      <dgm:spPr/>
      <dgm:t>
        <a:bodyPr/>
        <a:lstStyle/>
        <a:p>
          <a:endParaRPr lang="en-US"/>
        </a:p>
      </dgm:t>
    </dgm:pt>
    <dgm:pt modelId="{21E677CA-E62B-40FB-BC8C-CD77073807C4}" type="pres">
      <dgm:prSet presAssocID="{D5F26D46-8B6F-4B11-BCF1-035C12703FA0}" presName="spacer" presStyleCnt="0"/>
      <dgm:spPr/>
    </dgm:pt>
    <dgm:pt modelId="{DF8F895E-BBB2-4368-B1EC-830618FFA55C}" type="pres">
      <dgm:prSet presAssocID="{6A5EE0C5-915D-4BE2-9584-6A1A7A19ED9E}" presName="parentText" presStyleLbl="node1" presStyleIdx="7" presStyleCnt="8" custScaleY="176720">
        <dgm:presLayoutVars>
          <dgm:chMax val="0"/>
          <dgm:bulletEnabled val="1"/>
        </dgm:presLayoutVars>
      </dgm:prSet>
      <dgm:spPr/>
      <dgm:t>
        <a:bodyPr/>
        <a:lstStyle/>
        <a:p>
          <a:endParaRPr lang="en-US"/>
        </a:p>
      </dgm:t>
    </dgm:pt>
  </dgm:ptLst>
  <dgm:cxnLst>
    <dgm:cxn modelId="{4F5796C5-3E83-4E0B-9DAD-18A9D98A1E85}" srcId="{29B1402D-A153-4C5A-BE98-8D9F1780C5D8}" destId="{5339C3C1-227B-4877-9574-C4A1A26C1F1E}" srcOrd="5" destOrd="0" parTransId="{AE986A4A-14AA-4F23-81EE-4391312DE234}" sibTransId="{C829C378-9178-41E5-89FE-F9F1ED447321}"/>
    <dgm:cxn modelId="{63F16B2C-72AE-4DAC-A7A0-4EC9A8B916F3}" srcId="{29B1402D-A153-4C5A-BE98-8D9F1780C5D8}" destId="{ED7F061D-661F-4C95-810F-FA53E84544EF}" srcOrd="2" destOrd="0" parTransId="{4F3B9CE9-E898-4E40-A04A-4B32F93B2302}" sibTransId="{3E5B4043-4C9B-4C32-BCD1-91D829CCE622}"/>
    <dgm:cxn modelId="{426D8411-31A7-4635-8624-F2BEC1118804}" type="presOf" srcId="{5E56C822-CAD6-4F4E-A037-587DF9869BC1}" destId="{DC47DEB8-FE98-4F43-A066-58C03B93028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31349C75-D084-4EEC-8018-ADE42C2D6A79}" srcId="{29B1402D-A153-4C5A-BE98-8D9F1780C5D8}" destId="{47D055DD-0A3E-45E2-A023-BB31A96D377A}" srcOrd="4" destOrd="0" parTransId="{DFB68490-DD34-4ECE-B32B-71426DA760A3}" sibTransId="{1C40997F-F96E-475A-B693-338DD18CB1B7}"/>
    <dgm:cxn modelId="{BE137AED-47E9-4FAD-A02A-D96CCAC06E91}" type="presOf" srcId="{29B1402D-A153-4C5A-BE98-8D9F1780C5D8}" destId="{EA2E1B46-256E-4363-AF1A-0C8557BCBA36}" srcOrd="0" destOrd="0" presId="urn:microsoft.com/office/officeart/2005/8/layout/vList2"/>
    <dgm:cxn modelId="{49DBCB2B-0BB0-42D0-8466-257513EA1817}" type="presOf" srcId="{5339C3C1-227B-4877-9574-C4A1A26C1F1E}" destId="{A59D1415-F54B-4C6A-801D-85A08EC69BFB}" srcOrd="0" destOrd="0" presId="urn:microsoft.com/office/officeart/2005/8/layout/vList2"/>
    <dgm:cxn modelId="{E13C8BDD-E383-4FD4-8472-57F6C55060C3}" type="presOf" srcId="{F876B354-24F3-4711-82C6-788DC5FAEF89}" destId="{6C931AB7-9C62-419A-94E2-77A1CCB3F609}" srcOrd="0" destOrd="0" presId="urn:microsoft.com/office/officeart/2005/8/layout/vList2"/>
    <dgm:cxn modelId="{CFAA1486-0A9B-473E-A401-E0541DC68E78}" srcId="{29B1402D-A153-4C5A-BE98-8D9F1780C5D8}" destId="{F876B354-24F3-4711-82C6-788DC5FAEF89}" srcOrd="6" destOrd="0" parTransId="{081D4E13-3E98-417E-88B4-19C4D4194E28}" sibTransId="{D5F26D46-8B6F-4B11-BCF1-035C12703FA0}"/>
    <dgm:cxn modelId="{874B6769-E012-430F-8BBD-CA5E78B96255}" type="presOf" srcId="{01B48101-CFA8-4641-83C7-B22F9ABEB30B}" destId="{A77B38D6-8EF8-4F56-B969-6807478B1038}" srcOrd="0" destOrd="0" presId="urn:microsoft.com/office/officeart/2005/8/layout/vList2"/>
    <dgm:cxn modelId="{42B6083D-AD85-4BB9-81C8-BC727A4D20E5}" type="presOf" srcId="{ED7F061D-661F-4C95-810F-FA53E84544EF}" destId="{F6AADD40-1F84-4F74-AAC7-A2883E3D1BE6}" srcOrd="0" destOrd="0" presId="urn:microsoft.com/office/officeart/2005/8/layout/vList2"/>
    <dgm:cxn modelId="{EEB21E79-60AC-4DEE-AEB9-A2016FB790AD}" srcId="{29B1402D-A153-4C5A-BE98-8D9F1780C5D8}" destId="{6A5EE0C5-915D-4BE2-9584-6A1A7A19ED9E}" srcOrd="7" destOrd="0" parTransId="{314E2C20-A539-415F-898E-6BAF36A5FA58}" sibTransId="{C7337B22-B428-4C15-B7A5-1BBF1DAEA6F8}"/>
    <dgm:cxn modelId="{F33612F8-C902-4026-B8B3-1AA364672FBD}" type="presOf" srcId="{6A5EE0C5-915D-4BE2-9584-6A1A7A19ED9E}" destId="{DF8F895E-BBB2-4368-B1EC-830618FFA55C}" srcOrd="0" destOrd="0" presId="urn:microsoft.com/office/officeart/2005/8/layout/vList2"/>
    <dgm:cxn modelId="{31FF0108-138E-47F2-BCEF-FAEF89FE8999}" srcId="{29B1402D-A153-4C5A-BE98-8D9F1780C5D8}" destId="{44F41A0C-2A7B-40A7-B3EC-8BEB4E652AC0}" srcOrd="1" destOrd="0" parTransId="{A946068F-8F1C-411A-83FD-134814776124}" sibTransId="{C426701C-EC1D-45DF-95B8-6843FDC7B696}"/>
    <dgm:cxn modelId="{0375064A-11D9-4F31-A8F6-35BF1C609812}" type="presOf" srcId="{44F41A0C-2A7B-40A7-B3EC-8BEB4E652AC0}" destId="{B86AA557-CE9C-49BF-B03B-36F4240EAA66}" srcOrd="0" destOrd="0" presId="urn:microsoft.com/office/officeart/2005/8/layout/vList2"/>
    <dgm:cxn modelId="{3D71D89E-CFFA-4C72-8F3B-4D74DCC148AB}" srcId="{29B1402D-A153-4C5A-BE98-8D9F1780C5D8}" destId="{5E56C822-CAD6-4F4E-A037-587DF9869BC1}" srcOrd="3" destOrd="0" parTransId="{5AE89236-0F5C-4EF0-B391-C433C4E4FD95}" sibTransId="{35243BED-DF38-458B-B617-9209C77E3F57}"/>
    <dgm:cxn modelId="{7D7D9972-E80A-49A5-BCA0-98E08070DDFE}" type="presOf" srcId="{47D055DD-0A3E-45E2-A023-BB31A96D377A}" destId="{652F038F-A09B-4D65-AEE8-DCBC5B29702E}" srcOrd="0" destOrd="0" presId="urn:microsoft.com/office/officeart/2005/8/layout/vList2"/>
    <dgm:cxn modelId="{5B2B934C-E3E0-439B-9E41-B966D6F6D985}" type="presParOf" srcId="{EA2E1B46-256E-4363-AF1A-0C8557BCBA36}" destId="{A77B38D6-8EF8-4F56-B969-6807478B1038}" srcOrd="0" destOrd="0" presId="urn:microsoft.com/office/officeart/2005/8/layout/vList2"/>
    <dgm:cxn modelId="{34722CCA-891D-4A84-9C7B-569C76B48511}" type="presParOf" srcId="{EA2E1B46-256E-4363-AF1A-0C8557BCBA36}" destId="{5EA0B79F-CFB8-42D2-8EC9-54CF8352C64D}" srcOrd="1" destOrd="0" presId="urn:microsoft.com/office/officeart/2005/8/layout/vList2"/>
    <dgm:cxn modelId="{091D9BBA-FF5A-47B0-8E79-19429C9A35E6}" type="presParOf" srcId="{EA2E1B46-256E-4363-AF1A-0C8557BCBA36}" destId="{B86AA557-CE9C-49BF-B03B-36F4240EAA66}" srcOrd="2" destOrd="0" presId="urn:microsoft.com/office/officeart/2005/8/layout/vList2"/>
    <dgm:cxn modelId="{F9D7AC93-BFC5-4A54-813A-6E9894B1BA32}" type="presParOf" srcId="{EA2E1B46-256E-4363-AF1A-0C8557BCBA36}" destId="{55140289-075B-4908-947E-02E96A4A80EF}" srcOrd="3" destOrd="0" presId="urn:microsoft.com/office/officeart/2005/8/layout/vList2"/>
    <dgm:cxn modelId="{26A17019-EFAE-451B-BAC8-35C498950AB2}" type="presParOf" srcId="{EA2E1B46-256E-4363-AF1A-0C8557BCBA36}" destId="{F6AADD40-1F84-4F74-AAC7-A2883E3D1BE6}" srcOrd="4" destOrd="0" presId="urn:microsoft.com/office/officeart/2005/8/layout/vList2"/>
    <dgm:cxn modelId="{098D51DD-06D5-432D-9C65-FC69282E6F7E}" type="presParOf" srcId="{EA2E1B46-256E-4363-AF1A-0C8557BCBA36}" destId="{68CE9EC5-90F3-4CAC-A6FC-A52FEE195D70}" srcOrd="5" destOrd="0" presId="urn:microsoft.com/office/officeart/2005/8/layout/vList2"/>
    <dgm:cxn modelId="{656A12B4-1BAE-4495-9B64-48F445765E32}" type="presParOf" srcId="{EA2E1B46-256E-4363-AF1A-0C8557BCBA36}" destId="{DC47DEB8-FE98-4F43-A066-58C03B93028E}" srcOrd="6" destOrd="0" presId="urn:microsoft.com/office/officeart/2005/8/layout/vList2"/>
    <dgm:cxn modelId="{F7949925-6A8B-44CF-ADA9-2AC2D7020157}" type="presParOf" srcId="{EA2E1B46-256E-4363-AF1A-0C8557BCBA36}" destId="{031F2820-1013-4704-BB9A-EC08DD15447D}" srcOrd="7" destOrd="0" presId="urn:microsoft.com/office/officeart/2005/8/layout/vList2"/>
    <dgm:cxn modelId="{A1B1EE3D-0EDC-4518-B02F-73C03FF9897A}" type="presParOf" srcId="{EA2E1B46-256E-4363-AF1A-0C8557BCBA36}" destId="{652F038F-A09B-4D65-AEE8-DCBC5B29702E}" srcOrd="8" destOrd="0" presId="urn:microsoft.com/office/officeart/2005/8/layout/vList2"/>
    <dgm:cxn modelId="{6113FAC4-7426-4308-B15E-F9BEFA46402F}" type="presParOf" srcId="{EA2E1B46-256E-4363-AF1A-0C8557BCBA36}" destId="{A8458207-2F61-467E-A38E-9D8932D2DB5F}" srcOrd="9" destOrd="0" presId="urn:microsoft.com/office/officeart/2005/8/layout/vList2"/>
    <dgm:cxn modelId="{ABD8D0BF-914E-416E-9BEB-FBAC27460467}" type="presParOf" srcId="{EA2E1B46-256E-4363-AF1A-0C8557BCBA36}" destId="{A59D1415-F54B-4C6A-801D-85A08EC69BFB}" srcOrd="10" destOrd="0" presId="urn:microsoft.com/office/officeart/2005/8/layout/vList2"/>
    <dgm:cxn modelId="{2CE75138-53E5-4701-8986-29E12253BC42}" type="presParOf" srcId="{EA2E1B46-256E-4363-AF1A-0C8557BCBA36}" destId="{0C68473A-FE20-41F3-81C3-296A052FD1E7}" srcOrd="11" destOrd="0" presId="urn:microsoft.com/office/officeart/2005/8/layout/vList2"/>
    <dgm:cxn modelId="{70BF93C3-8797-4365-8C16-490D09487D87}" type="presParOf" srcId="{EA2E1B46-256E-4363-AF1A-0C8557BCBA36}" destId="{6C931AB7-9C62-419A-94E2-77A1CCB3F609}" srcOrd="12" destOrd="0" presId="urn:microsoft.com/office/officeart/2005/8/layout/vList2"/>
    <dgm:cxn modelId="{FFC8F562-CC7B-4CC4-94B6-180D787BD5A5}" type="presParOf" srcId="{EA2E1B46-256E-4363-AF1A-0C8557BCBA36}" destId="{21E677CA-E62B-40FB-BC8C-CD77073807C4}" srcOrd="13" destOrd="0" presId="urn:microsoft.com/office/officeart/2005/8/layout/vList2"/>
    <dgm:cxn modelId="{733BDA36-4AFD-4127-AF3F-A2299C4A17FF}" type="presParOf" srcId="{EA2E1B46-256E-4363-AF1A-0C8557BCBA36}" destId="{DF8F895E-BBB2-4368-B1EC-830618FFA55C}"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ne:</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2DF7BEF-E59B-45D8-823C-5FD4F0C31FB4}">
      <dgm:prSet custT="1"/>
      <dgm:spPr/>
      <dgm:t>
        <a:bodyPr/>
        <a:lstStyle/>
        <a:p>
          <a:r>
            <a:rPr lang="en-US" sz="2000" dirty="0" smtClean="0">
              <a:solidFill>
                <a:srgbClr val="000000"/>
              </a:solidFill>
            </a:rPr>
            <a:t>db.employees.find( { firstname: { $ne:  “Shaggy”} } )</a:t>
          </a:r>
          <a:endParaRPr lang="en-US" sz="2000" dirty="0">
            <a:solidFill>
              <a:srgbClr val="000000"/>
            </a:solidFill>
          </a:endParaRPr>
        </a:p>
      </dgm:t>
    </dgm:pt>
    <dgm:pt modelId="{F48C451A-D3F8-4559-B934-7F35EF6F758D}" type="parTrans" cxnId="{52C7E504-4535-4C23-8F00-370A452BB6E6}">
      <dgm:prSet/>
      <dgm:spPr/>
      <dgm:t>
        <a:bodyPr/>
        <a:lstStyle/>
        <a:p>
          <a:endParaRPr lang="en-US" sz="2000">
            <a:solidFill>
              <a:srgbClr val="000000"/>
            </a:solidFill>
          </a:endParaRPr>
        </a:p>
      </dgm:t>
    </dgm:pt>
    <dgm:pt modelId="{0A176F1C-51FB-49CE-8B92-2A53DE600115}" type="sibTrans" cxnId="{52C7E504-4535-4C23-8F00-370A452BB6E6}">
      <dgm:prSet/>
      <dgm:spPr/>
      <dgm:t>
        <a:bodyPr/>
        <a:lstStyle/>
        <a:p>
          <a:endParaRPr lang="en-US" sz="2000">
            <a:solidFill>
              <a:srgbClr val="000000"/>
            </a:solidFill>
          </a:endParaRPr>
        </a:p>
      </dgm:t>
    </dgm:pt>
    <dgm:pt modelId="{689AEB52-5099-407B-A1C5-FC13627B3041}">
      <dgm:prSet custT="1"/>
      <dgm:spPr/>
      <dgm:t>
        <a:bodyPr/>
        <a:lstStyle/>
        <a:p>
          <a:r>
            <a:rPr lang="en-US" sz="2000" dirty="0" smtClean="0">
              <a:solidFill>
                <a:srgbClr val="000000"/>
              </a:solidFill>
            </a:rPr>
            <a:t>$nin:</a:t>
          </a:r>
        </a:p>
      </dgm:t>
    </dgm:pt>
    <dgm:pt modelId="{37B8D3AE-27EA-450B-B6E7-A242A99DBB24}" type="parTrans" cxnId="{60E1B9C1-1AC9-4CD5-BE51-38F41A287420}">
      <dgm:prSet/>
      <dgm:spPr/>
      <dgm:t>
        <a:bodyPr/>
        <a:lstStyle/>
        <a:p>
          <a:endParaRPr lang="en-US" sz="2000">
            <a:solidFill>
              <a:srgbClr val="000000"/>
            </a:solidFill>
          </a:endParaRPr>
        </a:p>
      </dgm:t>
    </dgm:pt>
    <dgm:pt modelId="{E421EA47-24C4-46E8-A260-792EE8D31370}" type="sibTrans" cxnId="{60E1B9C1-1AC9-4CD5-BE51-38F41A287420}">
      <dgm:prSet/>
      <dgm:spPr/>
      <dgm:t>
        <a:bodyPr/>
        <a:lstStyle/>
        <a:p>
          <a:endParaRPr lang="en-US" sz="2000">
            <a:solidFill>
              <a:srgbClr val="000000"/>
            </a:solidFill>
          </a:endParaRPr>
        </a:p>
      </dgm:t>
    </dgm:pt>
    <dgm:pt modelId="{4523B029-22EE-4109-B9C1-CE283CD680CD}">
      <dgm:prSet custT="1"/>
      <dgm:spPr/>
      <dgm:t>
        <a:bodyPr/>
        <a:lstStyle/>
        <a:p>
          <a:r>
            <a:rPr lang="en-US" sz="2000" dirty="0" smtClean="0">
              <a:solidFill>
                <a:srgbClr val="000000"/>
              </a:solidFill>
            </a:rPr>
            <a:t>db.employees.find( { firstname: { $nin: [“Shaggy”, “Daphne”] } } )</a:t>
          </a:r>
          <a:endParaRPr lang="en-US" sz="2000" dirty="0">
            <a:solidFill>
              <a:srgbClr val="000000"/>
            </a:solidFill>
          </a:endParaRPr>
        </a:p>
      </dgm:t>
    </dgm:pt>
    <dgm:pt modelId="{905D106F-F8EE-41DD-979A-1117A3C1D740}" type="parTrans" cxnId="{1DDAA124-B785-4C12-9650-3B3652FF5036}">
      <dgm:prSet/>
      <dgm:spPr/>
      <dgm:t>
        <a:bodyPr/>
        <a:lstStyle/>
        <a:p>
          <a:endParaRPr lang="en-US" sz="2000">
            <a:solidFill>
              <a:srgbClr val="000000"/>
            </a:solidFill>
          </a:endParaRPr>
        </a:p>
      </dgm:t>
    </dgm:pt>
    <dgm:pt modelId="{F748FFF7-07EF-4081-B2F5-83B59DBEEDD4}" type="sibTrans" cxnId="{1DDAA124-B785-4C12-9650-3B3652FF5036}">
      <dgm:prSet/>
      <dgm:spPr/>
      <dgm:t>
        <a:bodyPr/>
        <a:lstStyle/>
        <a:p>
          <a:endParaRPr lang="en-US" sz="2000">
            <a:solidFill>
              <a:srgbClr val="000000"/>
            </a:solidFill>
          </a:endParaRPr>
        </a:p>
      </dgm:t>
    </dgm:pt>
    <dgm:pt modelId="{EC345D49-6F85-4C65-A3E3-A11A733DA590}">
      <dgm:prSet custT="1"/>
      <dgm:spPr/>
      <dgm:t>
        <a:bodyPr/>
        <a:lstStyle/>
        <a:p>
          <a:r>
            <a:rPr lang="en-US" sz="2000" dirty="0" smtClean="0">
              <a:solidFill>
                <a:srgbClr val="000000"/>
              </a:solidFill>
            </a:rPr>
            <a:t>$gt and $lt:</a:t>
          </a:r>
        </a:p>
      </dgm:t>
    </dgm:pt>
    <dgm:pt modelId="{22AB3A19-140F-42DB-A95A-0484D5EE979A}" type="parTrans" cxnId="{1E562EFB-14AA-4438-AFBE-91FC24267DFD}">
      <dgm:prSet/>
      <dgm:spPr/>
      <dgm:t>
        <a:bodyPr/>
        <a:lstStyle/>
        <a:p>
          <a:endParaRPr lang="en-US" sz="2000">
            <a:solidFill>
              <a:srgbClr val="000000"/>
            </a:solidFill>
          </a:endParaRPr>
        </a:p>
      </dgm:t>
    </dgm:pt>
    <dgm:pt modelId="{9A32D947-B8A2-4BDB-A867-E72C90EA98C9}" type="sibTrans" cxnId="{1E562EFB-14AA-4438-AFBE-91FC24267DFD}">
      <dgm:prSet/>
      <dgm:spPr/>
      <dgm:t>
        <a:bodyPr/>
        <a:lstStyle/>
        <a:p>
          <a:endParaRPr lang="en-US" sz="2000">
            <a:solidFill>
              <a:srgbClr val="000000"/>
            </a:solidFill>
          </a:endParaRPr>
        </a:p>
      </dgm:t>
    </dgm:pt>
    <dgm:pt modelId="{66A42117-225A-40AE-9312-992CF87E2975}">
      <dgm:prSet custT="1"/>
      <dgm:spPr/>
      <dgm:t>
        <a:bodyPr/>
        <a:lstStyle/>
        <a:p>
          <a:r>
            <a:rPr lang="en-US" sz="2000" dirty="0" smtClean="0">
              <a:solidFill>
                <a:srgbClr val="000000"/>
              </a:solidFill>
            </a:rPr>
            <a:t>db.employees.find( AGE: { {$gt: 30, $lt: 35} } )</a:t>
          </a:r>
        </a:p>
      </dgm:t>
    </dgm:pt>
    <dgm:pt modelId="{227C959E-8F78-4B2B-918C-B62502220ABC}" type="parTrans" cxnId="{9CEAAD03-B32A-4C1C-BDA4-5063CD0AADB3}">
      <dgm:prSet/>
      <dgm:spPr/>
      <dgm:t>
        <a:bodyPr/>
        <a:lstStyle/>
        <a:p>
          <a:endParaRPr lang="en-US" sz="2000">
            <a:solidFill>
              <a:srgbClr val="000000"/>
            </a:solidFill>
          </a:endParaRPr>
        </a:p>
      </dgm:t>
    </dgm:pt>
    <dgm:pt modelId="{BC5363AA-A280-4D98-A3B7-4F63DB17985C}" type="sibTrans" cxnId="{9CEAAD03-B32A-4C1C-BDA4-5063CD0AADB3}">
      <dgm:prSet/>
      <dgm:spPr/>
      <dgm:t>
        <a:bodyPr/>
        <a:lstStyle/>
        <a:p>
          <a:endParaRPr lang="en-US" sz="2000">
            <a:solidFill>
              <a:srgbClr val="000000"/>
            </a:solidFill>
          </a:endParaRPr>
        </a:p>
      </dgm:t>
    </dgm:pt>
    <dgm:pt modelId="{26C7EFD9-AE46-4C1B-B054-C32950471355}">
      <dgm:prSet custT="1"/>
      <dgm:spPr/>
      <dgm:t>
        <a:bodyPr/>
        <a:lstStyle/>
        <a:p>
          <a:r>
            <a:rPr lang="en-US" sz="2000" dirty="0" smtClean="0">
              <a:solidFill>
                <a:srgbClr val="000000"/>
              </a:solidFill>
            </a:rPr>
            <a:t>$size (eg, employee with exactly 3 kids):</a:t>
          </a:r>
        </a:p>
      </dgm:t>
    </dgm:pt>
    <dgm:pt modelId="{B391AFB0-35CB-4691-B9E6-2D9CA382622D}" type="parTrans" cxnId="{7AA89370-E9F2-4BB8-B674-CE4FC6366637}">
      <dgm:prSet/>
      <dgm:spPr/>
      <dgm:t>
        <a:bodyPr/>
        <a:lstStyle/>
        <a:p>
          <a:endParaRPr lang="en-US" sz="2000">
            <a:solidFill>
              <a:srgbClr val="000000"/>
            </a:solidFill>
          </a:endParaRPr>
        </a:p>
      </dgm:t>
    </dgm:pt>
    <dgm:pt modelId="{E07762D6-DCE8-408A-B564-5DB40EF2B51F}" type="sibTrans" cxnId="{7AA89370-E9F2-4BB8-B674-CE4FC6366637}">
      <dgm:prSet/>
      <dgm:spPr/>
      <dgm:t>
        <a:bodyPr/>
        <a:lstStyle/>
        <a:p>
          <a:endParaRPr lang="en-US" sz="2000">
            <a:solidFill>
              <a:srgbClr val="000000"/>
            </a:solidFill>
          </a:endParaRPr>
        </a:p>
      </dgm:t>
    </dgm:pt>
    <dgm:pt modelId="{15A9F586-2187-4423-A8E0-FFCEAA7AF501}">
      <dgm:prSet custT="1"/>
      <dgm:spPr/>
      <dgm:t>
        <a:bodyPr/>
        <a:lstStyle/>
        <a:p>
          <a:r>
            <a:rPr lang="en-US" sz="2000" dirty="0" smtClean="0">
              <a:solidFill>
                <a:srgbClr val="000000"/>
              </a:solidFill>
            </a:rPr>
            <a:t>db.employee.find( KIDS: {$size: 3} )</a:t>
          </a:r>
        </a:p>
      </dgm:t>
    </dgm:pt>
    <dgm:pt modelId="{3399B095-9F6D-4672-86C8-A97D6613D36D}" type="parTrans" cxnId="{77C0DB58-CAAB-42D4-9125-7CD5836581BE}">
      <dgm:prSet/>
      <dgm:spPr/>
      <dgm:t>
        <a:bodyPr/>
        <a:lstStyle/>
        <a:p>
          <a:endParaRPr lang="en-US" sz="2000">
            <a:solidFill>
              <a:srgbClr val="000000"/>
            </a:solidFill>
          </a:endParaRPr>
        </a:p>
      </dgm:t>
    </dgm:pt>
    <dgm:pt modelId="{5FB1A52E-2808-4769-A58E-C16CFBF8CE39}" type="sibTrans" cxnId="{77C0DB58-CAAB-42D4-9125-7CD5836581BE}">
      <dgm:prSet/>
      <dgm:spPr/>
      <dgm:t>
        <a:bodyPr/>
        <a:lstStyle/>
        <a:p>
          <a:endParaRPr lang="en-US" sz="2000">
            <a:solidFill>
              <a:srgbClr val="000000"/>
            </a:solidFill>
          </a:endParaRPr>
        </a:p>
      </dgm:t>
    </dgm:pt>
    <dgm:pt modelId="{FF2DBF23-1DA3-4EDC-9509-60230951702B}">
      <dgm:prSet custT="1"/>
      <dgm:spPr/>
      <dgm:t>
        <a:bodyPr/>
        <a:lstStyle/>
        <a:p>
          <a:r>
            <a:rPr lang="en-US" sz="2000" dirty="0" smtClean="0">
              <a:solidFill>
                <a:srgbClr val="000000"/>
              </a:solidFill>
            </a:rPr>
            <a:t>regex: (eg, names starting with Ma or Mi)</a:t>
          </a:r>
        </a:p>
      </dgm:t>
    </dgm:pt>
    <dgm:pt modelId="{2FA71F5F-178B-4992-988D-788B4D672B8B}" type="parTrans" cxnId="{376B9E0E-A793-4827-82D9-CC5076D1F221}">
      <dgm:prSet/>
      <dgm:spPr/>
      <dgm:t>
        <a:bodyPr/>
        <a:lstStyle/>
        <a:p>
          <a:endParaRPr lang="en-US" sz="2000">
            <a:solidFill>
              <a:srgbClr val="000000"/>
            </a:solidFill>
          </a:endParaRPr>
        </a:p>
      </dgm:t>
    </dgm:pt>
    <dgm:pt modelId="{D11C4D04-A453-413D-8BAE-F67551875615}" type="sibTrans" cxnId="{376B9E0E-A793-4827-82D9-CC5076D1F221}">
      <dgm:prSet/>
      <dgm:spPr/>
      <dgm:t>
        <a:bodyPr/>
        <a:lstStyle/>
        <a:p>
          <a:endParaRPr lang="en-US" sz="2000">
            <a:solidFill>
              <a:srgbClr val="000000"/>
            </a:solidFill>
          </a:endParaRPr>
        </a:p>
      </dgm:t>
    </dgm:pt>
    <dgm:pt modelId="{F4E016A1-0832-44A5-BCB8-E99D3B012F62}">
      <dgm:prSet custT="1"/>
      <dgm:spPr/>
      <dgm:t>
        <a:bodyPr/>
        <a:lstStyle/>
        <a:p>
          <a:r>
            <a:rPr lang="en-US" sz="2000" dirty="0" smtClean="0">
              <a:solidFill>
                <a:srgbClr val="000000"/>
              </a:solidFill>
            </a:rPr>
            <a:t>db.employees.find( {firstname: /^K(a|i)/} )</a:t>
          </a:r>
        </a:p>
      </dgm:t>
    </dgm:pt>
    <dgm:pt modelId="{0EBD68FD-E40B-462A-8EB2-2C64F2EE2DA0}" type="parTrans" cxnId="{0F103877-AACE-4F6D-A3F3-8DCD06899FE1}">
      <dgm:prSet/>
      <dgm:spPr/>
      <dgm:t>
        <a:bodyPr/>
        <a:lstStyle/>
        <a:p>
          <a:endParaRPr lang="en-US" sz="2000">
            <a:solidFill>
              <a:srgbClr val="000000"/>
            </a:solidFill>
          </a:endParaRPr>
        </a:p>
      </dgm:t>
    </dgm:pt>
    <dgm:pt modelId="{EE3547D1-82C2-49CC-978C-118954480EB0}" type="sibTrans" cxnId="{0F103877-AACE-4F6D-A3F3-8DCD06899FE1}">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5">
        <dgm:presLayoutVars>
          <dgm:bulletEnabled val="1"/>
        </dgm:presLayoutVars>
      </dgm:prSet>
      <dgm:spPr/>
      <dgm:t>
        <a:bodyPr/>
        <a:lstStyle/>
        <a:p>
          <a:endParaRPr lang="en-US"/>
        </a:p>
      </dgm:t>
    </dgm:pt>
    <dgm:pt modelId="{70CDB5AC-1678-4F15-A03F-AA12201AA6CE}" type="pres">
      <dgm:prSet presAssocID="{689AEB52-5099-407B-A1C5-FC13627B3041}" presName="parentText" presStyleLbl="node1" presStyleIdx="1" presStyleCnt="5">
        <dgm:presLayoutVars>
          <dgm:chMax val="0"/>
          <dgm:bulletEnabled val="1"/>
        </dgm:presLayoutVars>
      </dgm:prSet>
      <dgm:spPr/>
      <dgm:t>
        <a:bodyPr/>
        <a:lstStyle/>
        <a:p>
          <a:endParaRPr lang="en-US"/>
        </a:p>
      </dgm:t>
    </dgm:pt>
    <dgm:pt modelId="{34B0940A-CF69-45FE-ADA7-68A6C4EB25AC}" type="pres">
      <dgm:prSet presAssocID="{689AEB52-5099-407B-A1C5-FC13627B3041}" presName="childText" presStyleLbl="revTx" presStyleIdx="1" presStyleCnt="5">
        <dgm:presLayoutVars>
          <dgm:bulletEnabled val="1"/>
        </dgm:presLayoutVars>
      </dgm:prSet>
      <dgm:spPr/>
      <dgm:t>
        <a:bodyPr/>
        <a:lstStyle/>
        <a:p>
          <a:endParaRPr lang="en-US"/>
        </a:p>
      </dgm:t>
    </dgm:pt>
    <dgm:pt modelId="{521AF44D-2312-44F2-88BC-685002F3089C}" type="pres">
      <dgm:prSet presAssocID="{EC345D49-6F85-4C65-A3E3-A11A733DA590}" presName="parentText" presStyleLbl="node1" presStyleIdx="2" presStyleCnt="5">
        <dgm:presLayoutVars>
          <dgm:chMax val="0"/>
          <dgm:bulletEnabled val="1"/>
        </dgm:presLayoutVars>
      </dgm:prSet>
      <dgm:spPr/>
      <dgm:t>
        <a:bodyPr/>
        <a:lstStyle/>
        <a:p>
          <a:endParaRPr lang="en-US"/>
        </a:p>
      </dgm:t>
    </dgm:pt>
    <dgm:pt modelId="{EF4BD359-D437-47D3-BDAF-3616561C6D1E}" type="pres">
      <dgm:prSet presAssocID="{EC345D49-6F85-4C65-A3E3-A11A733DA590}" presName="childText" presStyleLbl="revTx" presStyleIdx="2" presStyleCnt="5">
        <dgm:presLayoutVars>
          <dgm:bulletEnabled val="1"/>
        </dgm:presLayoutVars>
      </dgm:prSet>
      <dgm:spPr/>
      <dgm:t>
        <a:bodyPr/>
        <a:lstStyle/>
        <a:p>
          <a:endParaRPr lang="en-US"/>
        </a:p>
      </dgm:t>
    </dgm:pt>
    <dgm:pt modelId="{FAAB3C50-1830-4577-B412-EB97DEF14883}" type="pres">
      <dgm:prSet presAssocID="{26C7EFD9-AE46-4C1B-B054-C32950471355}" presName="parentText" presStyleLbl="node1" presStyleIdx="3" presStyleCnt="5">
        <dgm:presLayoutVars>
          <dgm:chMax val="0"/>
          <dgm:bulletEnabled val="1"/>
        </dgm:presLayoutVars>
      </dgm:prSet>
      <dgm:spPr/>
      <dgm:t>
        <a:bodyPr/>
        <a:lstStyle/>
        <a:p>
          <a:endParaRPr lang="en-US"/>
        </a:p>
      </dgm:t>
    </dgm:pt>
    <dgm:pt modelId="{3C5A6C0E-1090-4A43-9846-8BB06CD1D924}" type="pres">
      <dgm:prSet presAssocID="{26C7EFD9-AE46-4C1B-B054-C32950471355}" presName="childText" presStyleLbl="revTx" presStyleIdx="3" presStyleCnt="5">
        <dgm:presLayoutVars>
          <dgm:bulletEnabled val="1"/>
        </dgm:presLayoutVars>
      </dgm:prSet>
      <dgm:spPr/>
      <dgm:t>
        <a:bodyPr/>
        <a:lstStyle/>
        <a:p>
          <a:endParaRPr lang="en-US"/>
        </a:p>
      </dgm:t>
    </dgm:pt>
    <dgm:pt modelId="{F831EABA-5D54-4DBD-B20D-2E9BCC9265FC}" type="pres">
      <dgm:prSet presAssocID="{FF2DBF23-1DA3-4EDC-9509-60230951702B}" presName="parentText" presStyleLbl="node1" presStyleIdx="4" presStyleCnt="5">
        <dgm:presLayoutVars>
          <dgm:chMax val="0"/>
          <dgm:bulletEnabled val="1"/>
        </dgm:presLayoutVars>
      </dgm:prSet>
      <dgm:spPr/>
      <dgm:t>
        <a:bodyPr/>
        <a:lstStyle/>
        <a:p>
          <a:endParaRPr lang="en-US"/>
        </a:p>
      </dgm:t>
    </dgm:pt>
    <dgm:pt modelId="{B779D05F-FD74-4E5D-9F36-0B80BA61AE08}" type="pres">
      <dgm:prSet presAssocID="{FF2DBF23-1DA3-4EDC-9509-60230951702B}" presName="childText" presStyleLbl="revTx" presStyleIdx="4" presStyleCnt="5">
        <dgm:presLayoutVars>
          <dgm:bulletEnabled val="1"/>
        </dgm:presLayoutVars>
      </dgm:prSet>
      <dgm:spPr/>
      <dgm:t>
        <a:bodyPr/>
        <a:lstStyle/>
        <a:p>
          <a:endParaRPr lang="en-US"/>
        </a:p>
      </dgm:t>
    </dgm:pt>
  </dgm:ptLst>
  <dgm:cxnLst>
    <dgm:cxn modelId="{1E562EFB-14AA-4438-AFBE-91FC24267DFD}" srcId="{29B1402D-A153-4C5A-BE98-8D9F1780C5D8}" destId="{EC345D49-6F85-4C65-A3E3-A11A733DA590}" srcOrd="2" destOrd="0" parTransId="{22AB3A19-140F-42DB-A95A-0484D5EE979A}" sibTransId="{9A32D947-B8A2-4BDB-A867-E72C90EA98C9}"/>
    <dgm:cxn modelId="{E07CAD63-0E86-4D7B-A66A-5C3588C48197}" srcId="{29B1402D-A153-4C5A-BE98-8D9F1780C5D8}" destId="{01B48101-CFA8-4641-83C7-B22F9ABEB30B}" srcOrd="0" destOrd="0" parTransId="{4D5AEF54-14FE-4BA4-987A-BECEB44108D1}" sibTransId="{F03A470E-D788-4E8C-8198-3EC2B90C12B1}"/>
    <dgm:cxn modelId="{990C181D-3CF0-48B3-A55A-3DD9C56D4CA8}" type="presOf" srcId="{FF2DBF23-1DA3-4EDC-9509-60230951702B}" destId="{F831EABA-5D54-4DBD-B20D-2E9BCC9265FC}" srcOrd="0" destOrd="0" presId="urn:microsoft.com/office/officeart/2005/8/layout/vList2"/>
    <dgm:cxn modelId="{B093647F-D056-4F5E-9B3F-76C66AAA8FB9}" type="presOf" srcId="{01B48101-CFA8-4641-83C7-B22F9ABEB30B}" destId="{A77B38D6-8EF8-4F56-B969-6807478B1038}" srcOrd="0" destOrd="0" presId="urn:microsoft.com/office/officeart/2005/8/layout/vList2"/>
    <dgm:cxn modelId="{1DDAA124-B785-4C12-9650-3B3652FF5036}" srcId="{689AEB52-5099-407B-A1C5-FC13627B3041}" destId="{4523B029-22EE-4109-B9C1-CE283CD680CD}" srcOrd="0" destOrd="0" parTransId="{905D106F-F8EE-41DD-979A-1117A3C1D740}" sibTransId="{F748FFF7-07EF-4081-B2F5-83B59DBEEDD4}"/>
    <dgm:cxn modelId="{F7A0C7A0-AD6C-4A84-A340-F1C5E9C29004}" type="presOf" srcId="{EC345D49-6F85-4C65-A3E3-A11A733DA590}" destId="{521AF44D-2312-44F2-88BC-685002F3089C}" srcOrd="0" destOrd="0" presId="urn:microsoft.com/office/officeart/2005/8/layout/vList2"/>
    <dgm:cxn modelId="{23520C53-227C-4AA6-B521-7D9E11DEB578}" type="presOf" srcId="{B2DF7BEF-E59B-45D8-823C-5FD4F0C31FB4}" destId="{D35D2B51-CDB9-456F-AB69-03B1DA780EB7}" srcOrd="0" destOrd="0" presId="urn:microsoft.com/office/officeart/2005/8/layout/vList2"/>
    <dgm:cxn modelId="{08795DAE-C3F6-482E-97BB-078189BE7B65}" type="presOf" srcId="{29B1402D-A153-4C5A-BE98-8D9F1780C5D8}" destId="{EA2E1B46-256E-4363-AF1A-0C8557BCBA36}" srcOrd="0" destOrd="0" presId="urn:microsoft.com/office/officeart/2005/8/layout/vList2"/>
    <dgm:cxn modelId="{77C0DB58-CAAB-42D4-9125-7CD5836581BE}" srcId="{26C7EFD9-AE46-4C1B-B054-C32950471355}" destId="{15A9F586-2187-4423-A8E0-FFCEAA7AF501}" srcOrd="0" destOrd="0" parTransId="{3399B095-9F6D-4672-86C8-A97D6613D36D}" sibTransId="{5FB1A52E-2808-4769-A58E-C16CFBF8CE39}"/>
    <dgm:cxn modelId="{E9A6067C-82AC-4AEC-BBFB-DB675BE0A83B}" type="presOf" srcId="{689AEB52-5099-407B-A1C5-FC13627B3041}" destId="{70CDB5AC-1678-4F15-A03F-AA12201AA6CE}" srcOrd="0" destOrd="0" presId="urn:microsoft.com/office/officeart/2005/8/layout/vList2"/>
    <dgm:cxn modelId="{52C7E504-4535-4C23-8F00-370A452BB6E6}" srcId="{01B48101-CFA8-4641-83C7-B22F9ABEB30B}" destId="{B2DF7BEF-E59B-45D8-823C-5FD4F0C31FB4}" srcOrd="0" destOrd="0" parTransId="{F48C451A-D3F8-4559-B934-7F35EF6F758D}" sibTransId="{0A176F1C-51FB-49CE-8B92-2A53DE600115}"/>
    <dgm:cxn modelId="{7AA89370-E9F2-4BB8-B674-CE4FC6366637}" srcId="{29B1402D-A153-4C5A-BE98-8D9F1780C5D8}" destId="{26C7EFD9-AE46-4C1B-B054-C32950471355}" srcOrd="3" destOrd="0" parTransId="{B391AFB0-35CB-4691-B9E6-2D9CA382622D}" sibTransId="{E07762D6-DCE8-408A-B564-5DB40EF2B51F}"/>
    <dgm:cxn modelId="{376B9E0E-A793-4827-82D9-CC5076D1F221}" srcId="{29B1402D-A153-4C5A-BE98-8D9F1780C5D8}" destId="{FF2DBF23-1DA3-4EDC-9509-60230951702B}" srcOrd="4" destOrd="0" parTransId="{2FA71F5F-178B-4992-988D-788B4D672B8B}" sibTransId="{D11C4D04-A453-413D-8BAE-F67551875615}"/>
    <dgm:cxn modelId="{BD44DE28-0361-416F-8C23-234AC54239F7}" type="presOf" srcId="{15A9F586-2187-4423-A8E0-FFCEAA7AF501}" destId="{3C5A6C0E-1090-4A43-9846-8BB06CD1D924}" srcOrd="0" destOrd="0" presId="urn:microsoft.com/office/officeart/2005/8/layout/vList2"/>
    <dgm:cxn modelId="{9CEAAD03-B32A-4C1C-BDA4-5063CD0AADB3}" srcId="{EC345D49-6F85-4C65-A3E3-A11A733DA590}" destId="{66A42117-225A-40AE-9312-992CF87E2975}" srcOrd="0" destOrd="0" parTransId="{227C959E-8F78-4B2B-918C-B62502220ABC}" sibTransId="{BC5363AA-A280-4D98-A3B7-4F63DB17985C}"/>
    <dgm:cxn modelId="{58D9E319-2935-4912-97EB-D79E8B3EF555}" type="presOf" srcId="{F4E016A1-0832-44A5-BCB8-E99D3B012F62}" destId="{B779D05F-FD74-4E5D-9F36-0B80BA61AE08}" srcOrd="0" destOrd="0" presId="urn:microsoft.com/office/officeart/2005/8/layout/vList2"/>
    <dgm:cxn modelId="{0F103877-AACE-4F6D-A3F3-8DCD06899FE1}" srcId="{FF2DBF23-1DA3-4EDC-9509-60230951702B}" destId="{F4E016A1-0832-44A5-BCB8-E99D3B012F62}" srcOrd="0" destOrd="0" parTransId="{0EBD68FD-E40B-462A-8EB2-2C64F2EE2DA0}" sibTransId="{EE3547D1-82C2-49CC-978C-118954480EB0}"/>
    <dgm:cxn modelId="{B9D1FC9A-898F-4065-9DE1-CC8DAB9982CF}" type="presOf" srcId="{66A42117-225A-40AE-9312-992CF87E2975}" destId="{EF4BD359-D437-47D3-BDAF-3616561C6D1E}" srcOrd="0" destOrd="0" presId="urn:microsoft.com/office/officeart/2005/8/layout/vList2"/>
    <dgm:cxn modelId="{60E1B9C1-1AC9-4CD5-BE51-38F41A287420}" srcId="{29B1402D-A153-4C5A-BE98-8D9F1780C5D8}" destId="{689AEB52-5099-407B-A1C5-FC13627B3041}" srcOrd="1" destOrd="0" parTransId="{37B8D3AE-27EA-450B-B6E7-A242A99DBB24}" sibTransId="{E421EA47-24C4-46E8-A260-792EE8D31370}"/>
    <dgm:cxn modelId="{1EC4115A-117C-4C13-A5D6-5481285CD581}" type="presOf" srcId="{4523B029-22EE-4109-B9C1-CE283CD680CD}" destId="{34B0940A-CF69-45FE-ADA7-68A6C4EB25AC}" srcOrd="0" destOrd="0" presId="urn:microsoft.com/office/officeart/2005/8/layout/vList2"/>
    <dgm:cxn modelId="{EC13B291-EF13-4BFF-8560-6A947F398810}" type="presOf" srcId="{26C7EFD9-AE46-4C1B-B054-C32950471355}" destId="{FAAB3C50-1830-4577-B412-EB97DEF14883}" srcOrd="0" destOrd="0" presId="urn:microsoft.com/office/officeart/2005/8/layout/vList2"/>
    <dgm:cxn modelId="{4C742E7A-823D-469F-8A1E-0DD0EE3902FE}" type="presParOf" srcId="{EA2E1B46-256E-4363-AF1A-0C8557BCBA36}" destId="{A77B38D6-8EF8-4F56-B969-6807478B1038}" srcOrd="0" destOrd="0" presId="urn:microsoft.com/office/officeart/2005/8/layout/vList2"/>
    <dgm:cxn modelId="{D3E4E6B8-2B36-4CD1-A51F-8102387AE254}" type="presParOf" srcId="{EA2E1B46-256E-4363-AF1A-0C8557BCBA36}" destId="{D35D2B51-CDB9-456F-AB69-03B1DA780EB7}" srcOrd="1" destOrd="0" presId="urn:microsoft.com/office/officeart/2005/8/layout/vList2"/>
    <dgm:cxn modelId="{08278B5C-7D4F-42A2-90E5-BB572206F1BD}" type="presParOf" srcId="{EA2E1B46-256E-4363-AF1A-0C8557BCBA36}" destId="{70CDB5AC-1678-4F15-A03F-AA12201AA6CE}" srcOrd="2" destOrd="0" presId="urn:microsoft.com/office/officeart/2005/8/layout/vList2"/>
    <dgm:cxn modelId="{C539A543-8F03-4336-B47F-F438AAE564AA}" type="presParOf" srcId="{EA2E1B46-256E-4363-AF1A-0C8557BCBA36}" destId="{34B0940A-CF69-45FE-ADA7-68A6C4EB25AC}" srcOrd="3" destOrd="0" presId="urn:microsoft.com/office/officeart/2005/8/layout/vList2"/>
    <dgm:cxn modelId="{5127C455-07A4-46AF-B78B-646BC5494D51}" type="presParOf" srcId="{EA2E1B46-256E-4363-AF1A-0C8557BCBA36}" destId="{521AF44D-2312-44F2-88BC-685002F3089C}" srcOrd="4" destOrd="0" presId="urn:microsoft.com/office/officeart/2005/8/layout/vList2"/>
    <dgm:cxn modelId="{FB5285BC-0395-40DD-B9C4-0A715C149002}" type="presParOf" srcId="{EA2E1B46-256E-4363-AF1A-0C8557BCBA36}" destId="{EF4BD359-D437-47D3-BDAF-3616561C6D1E}" srcOrd="5" destOrd="0" presId="urn:microsoft.com/office/officeart/2005/8/layout/vList2"/>
    <dgm:cxn modelId="{7A987837-E993-469F-8A97-66E9744DB400}" type="presParOf" srcId="{EA2E1B46-256E-4363-AF1A-0C8557BCBA36}" destId="{FAAB3C50-1830-4577-B412-EB97DEF14883}" srcOrd="6" destOrd="0" presId="urn:microsoft.com/office/officeart/2005/8/layout/vList2"/>
    <dgm:cxn modelId="{8DB74D89-8E66-49F1-95DC-E65DD11D46AC}" type="presParOf" srcId="{EA2E1B46-256E-4363-AF1A-0C8557BCBA36}" destId="{3C5A6C0E-1090-4A43-9846-8BB06CD1D924}" srcOrd="7" destOrd="0" presId="urn:microsoft.com/office/officeart/2005/8/layout/vList2"/>
    <dgm:cxn modelId="{3EDB032E-DAF1-47CA-A49F-55249A19DC68}" type="presParOf" srcId="{EA2E1B46-256E-4363-AF1A-0C8557BCBA36}" destId="{F831EABA-5D54-4DBD-B20D-2E9BCC9265FC}" srcOrd="8" destOrd="0" presId="urn:microsoft.com/office/officeart/2005/8/layout/vList2"/>
    <dgm:cxn modelId="{09539DAD-3AA4-4D03-B0A6-F07D1B68846A}" type="presParOf" srcId="{EA2E1B46-256E-4363-AF1A-0C8557BCBA36}" destId="{B779D05F-FD74-4E5D-9F36-0B80BA61AE08}" srcOrd="9"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Like Quer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AE929C70-8DC0-4A53-90DC-DE16D5D5D277}">
      <dgm:prSet custT="1"/>
      <dgm:spPr/>
      <dgm:t>
        <a:bodyPr/>
        <a:lstStyle/>
        <a:p>
          <a:r>
            <a:rPr lang="en-US" sz="2000" dirty="0" smtClean="0">
              <a:solidFill>
                <a:srgbClr val="000000"/>
              </a:solidFill>
            </a:rPr>
            <a:t>db.employees.find( {firstname:/^an/} )</a:t>
          </a:r>
        </a:p>
      </dgm:t>
    </dgm:pt>
    <dgm:pt modelId="{23660A76-DDCA-4498-B653-2E70A10FE75C}" type="parTrans" cxnId="{A809A06D-FA68-448C-B6C5-1C7AB24B4CAD}">
      <dgm:prSet/>
      <dgm:spPr/>
      <dgm:t>
        <a:bodyPr/>
        <a:lstStyle/>
        <a:p>
          <a:endParaRPr lang="en-US" sz="2000">
            <a:solidFill>
              <a:srgbClr val="000000"/>
            </a:solidFill>
          </a:endParaRPr>
        </a:p>
      </dgm:t>
    </dgm:pt>
    <dgm:pt modelId="{B0CC2CF5-50E5-44C6-BEEA-0D129998095F}" type="sibTrans" cxnId="{A809A06D-FA68-448C-B6C5-1C7AB24B4CAD}">
      <dgm:prSet/>
      <dgm:spPr/>
      <dgm:t>
        <a:bodyPr/>
        <a:lstStyle/>
        <a:p>
          <a:endParaRPr lang="en-US" sz="2000">
            <a:solidFill>
              <a:srgbClr val="000000"/>
            </a:solidFill>
          </a:endParaRPr>
        </a:p>
      </dgm:t>
    </dgm:pt>
    <dgm:pt modelId="{19DC0B64-822A-452C-B777-39F182730F2B}">
      <dgm:prSet custT="1"/>
      <dgm:spPr/>
      <dgm:t>
        <a:bodyPr/>
        <a:lstStyle/>
        <a:p>
          <a:r>
            <a:rPr lang="en-US" sz="2000" dirty="0" smtClean="0">
              <a:solidFill>
                <a:srgbClr val="000000"/>
              </a:solidFill>
            </a:rPr>
            <a:t>1  for ascending sort</a:t>
          </a:r>
        </a:p>
      </dgm:t>
    </dgm:pt>
    <dgm:pt modelId="{4D8721B0-B5B5-4FAB-ACFC-B6CA497DC840}" type="parTrans" cxnId="{F0C89009-D762-4E2D-B962-FAC76E7CC1A3}">
      <dgm:prSet/>
      <dgm:spPr/>
      <dgm:t>
        <a:bodyPr/>
        <a:lstStyle/>
        <a:p>
          <a:endParaRPr lang="en-US" sz="2000">
            <a:solidFill>
              <a:srgbClr val="000000"/>
            </a:solidFill>
          </a:endParaRPr>
        </a:p>
      </dgm:t>
    </dgm:pt>
    <dgm:pt modelId="{1F9BBD1D-1CE3-43F0-AE2C-6D66750EE9E3}" type="sibTrans" cxnId="{F0C89009-D762-4E2D-B962-FAC76E7CC1A3}">
      <dgm:prSet/>
      <dgm:spPr/>
      <dgm:t>
        <a:bodyPr/>
        <a:lstStyle/>
        <a:p>
          <a:endParaRPr lang="en-US" sz="2000">
            <a:solidFill>
              <a:srgbClr val="000000"/>
            </a:solidFill>
          </a:endParaRPr>
        </a:p>
      </dgm:t>
    </dgm:pt>
    <dgm:pt modelId="{A283E88D-7A17-44B5-831B-D1E9769D05DE}">
      <dgm:prSet custT="1"/>
      <dgm:spPr/>
      <dgm:t>
        <a:bodyPr/>
        <a:lstStyle/>
        <a:p>
          <a:r>
            <a:rPr lang="en-US" sz="2000" dirty="0" smtClean="0">
              <a:solidFill>
                <a:srgbClr val="000000"/>
              </a:solidFill>
            </a:rPr>
            <a:t>-1 for descending sort        </a:t>
          </a:r>
        </a:p>
      </dgm:t>
    </dgm:pt>
    <dgm:pt modelId="{D9BC66E9-2C30-498C-AB3C-734D0EF33AE9}" type="parTrans" cxnId="{7D782F30-52FE-4FB0-98D9-9FB2BAE1352C}">
      <dgm:prSet/>
      <dgm:spPr/>
      <dgm:t>
        <a:bodyPr/>
        <a:lstStyle/>
        <a:p>
          <a:endParaRPr lang="en-US" sz="2000">
            <a:solidFill>
              <a:srgbClr val="000000"/>
            </a:solidFill>
          </a:endParaRPr>
        </a:p>
      </dgm:t>
    </dgm:pt>
    <dgm:pt modelId="{BF779655-887A-42D9-BE06-27CB6F20B1C0}" type="sibTrans" cxnId="{7D782F30-52FE-4FB0-98D9-9FB2BAE1352C}">
      <dgm:prSet/>
      <dgm:spPr/>
      <dgm:t>
        <a:bodyPr/>
        <a:lstStyle/>
        <a:p>
          <a:endParaRPr lang="en-US" sz="2000">
            <a:solidFill>
              <a:srgbClr val="000000"/>
            </a:solidFill>
          </a:endParaRPr>
        </a:p>
      </dgm:t>
    </dgm:pt>
    <dgm:pt modelId="{276C4FA8-9DDF-4A20-9A7B-2777A034DD9D}">
      <dgm:prSet custT="1"/>
      <dgm:spPr/>
      <dgm:t>
        <a:bodyPr/>
        <a:lstStyle/>
        <a:p>
          <a:r>
            <a:rPr lang="en-US" sz="2000" dirty="0" smtClean="0">
              <a:solidFill>
                <a:srgbClr val="000000"/>
              </a:solidFill>
            </a:rPr>
            <a:t>db.employees.find().sort( {firstame:-1, age:1} );</a:t>
          </a:r>
        </a:p>
      </dgm:t>
    </dgm:pt>
    <dgm:pt modelId="{C0A0D36A-377C-4785-A140-B3885F1BDC83}" type="parTrans" cxnId="{419A4A20-7B22-4C78-BBF4-737CA0A9B3BE}">
      <dgm:prSet/>
      <dgm:spPr/>
      <dgm:t>
        <a:bodyPr/>
        <a:lstStyle/>
        <a:p>
          <a:endParaRPr lang="en-US" sz="2000">
            <a:solidFill>
              <a:srgbClr val="000000"/>
            </a:solidFill>
          </a:endParaRPr>
        </a:p>
      </dgm:t>
    </dgm:pt>
    <dgm:pt modelId="{E6350F79-3154-4989-9CFA-4B14E2E2F01C}" type="sibTrans" cxnId="{419A4A20-7B22-4C78-BBF4-737CA0A9B3BE}">
      <dgm:prSet/>
      <dgm:spPr/>
      <dgm:t>
        <a:bodyPr/>
        <a:lstStyle/>
        <a:p>
          <a:endParaRPr lang="en-US" sz="2000">
            <a:solidFill>
              <a:srgbClr val="000000"/>
            </a:solidFill>
          </a:endParaRPr>
        </a:p>
      </dgm:t>
    </dgm:pt>
    <dgm:pt modelId="{FA204C81-CBDB-47BD-A612-A53F628CF38D}">
      <dgm:prSet custT="1"/>
      <dgm:spPr/>
      <dgm:t>
        <a:bodyPr/>
        <a:lstStyle/>
        <a:p>
          <a:r>
            <a:rPr lang="en-US" sz="2000" dirty="0" smtClean="0">
              <a:solidFill>
                <a:srgbClr val="000000"/>
              </a:solidFill>
            </a:rPr>
            <a:t>db.employees.find().limit(10); </a:t>
          </a:r>
          <a:endParaRPr lang="en-US" sz="2000" dirty="0">
            <a:solidFill>
              <a:srgbClr val="000000"/>
            </a:solidFill>
          </a:endParaRPr>
        </a:p>
      </dgm:t>
    </dgm:pt>
    <dgm:pt modelId="{0419BEB1-973A-4CD6-8140-18253A1C8630}" type="parTrans" cxnId="{A9EE90EB-6148-4144-A009-2E8BCD8B5733}">
      <dgm:prSet/>
      <dgm:spPr/>
      <dgm:t>
        <a:bodyPr/>
        <a:lstStyle/>
        <a:p>
          <a:endParaRPr lang="en-US" sz="2000">
            <a:solidFill>
              <a:srgbClr val="000000"/>
            </a:solidFill>
          </a:endParaRPr>
        </a:p>
      </dgm:t>
    </dgm:pt>
    <dgm:pt modelId="{231E801C-4850-4AA7-B4C6-4FD9D9307DAA}" type="sibTrans" cxnId="{A9EE90EB-6148-4144-A009-2E8BCD8B5733}">
      <dgm:prSet/>
      <dgm:spPr/>
      <dgm:t>
        <a:bodyPr/>
        <a:lstStyle/>
        <a:p>
          <a:endParaRPr lang="en-US" sz="2000">
            <a:solidFill>
              <a:srgbClr val="000000"/>
            </a:solidFill>
          </a:endParaRPr>
        </a:p>
      </dgm:t>
    </dgm:pt>
    <dgm:pt modelId="{82849804-2AED-48A0-8766-D72564D703AA}">
      <dgm:prSet custT="1"/>
      <dgm:spPr/>
      <dgm:t>
        <a:bodyPr/>
        <a:lstStyle/>
        <a:p>
          <a:r>
            <a:rPr lang="en-US" sz="2000" dirty="0" smtClean="0">
              <a:solidFill>
                <a:srgbClr val="000000"/>
              </a:solidFill>
            </a:rPr>
            <a:t>Sort Query: </a:t>
          </a:r>
        </a:p>
      </dgm:t>
    </dgm:pt>
    <dgm:pt modelId="{3BC04760-25DE-40A6-984C-F810382E56B4}" type="parTrans" cxnId="{2F213142-18F7-45DE-8E71-A830EF0C1A9A}">
      <dgm:prSet/>
      <dgm:spPr/>
      <dgm:t>
        <a:bodyPr/>
        <a:lstStyle/>
        <a:p>
          <a:endParaRPr lang="en-US" sz="2000">
            <a:solidFill>
              <a:srgbClr val="000000"/>
            </a:solidFill>
          </a:endParaRPr>
        </a:p>
      </dgm:t>
    </dgm:pt>
    <dgm:pt modelId="{F9478372-177E-4EA7-985D-C19291FD9936}" type="sibTrans" cxnId="{2F213142-18F7-45DE-8E71-A830EF0C1A9A}">
      <dgm:prSet/>
      <dgm:spPr/>
      <dgm:t>
        <a:bodyPr/>
        <a:lstStyle/>
        <a:p>
          <a:endParaRPr lang="en-US" sz="2000">
            <a:solidFill>
              <a:srgbClr val="000000"/>
            </a:solidFill>
          </a:endParaRPr>
        </a:p>
      </dgm:t>
    </dgm:pt>
    <dgm:pt modelId="{86A78685-511C-406A-A84A-A3404CB03E1E}">
      <dgm:prSet custT="1"/>
      <dgm:spPr/>
      <dgm:t>
        <a:bodyPr/>
        <a:lstStyle/>
        <a:p>
          <a:r>
            <a:rPr lang="en-US" sz="2000" dirty="0" smtClean="0">
              <a:solidFill>
                <a:srgbClr val="000000"/>
              </a:solidFill>
            </a:rPr>
            <a:t>Limit Query: </a:t>
          </a:r>
        </a:p>
      </dgm:t>
    </dgm:pt>
    <dgm:pt modelId="{DB46CB53-E0D6-431E-A170-EB766798C58B}" type="parTrans" cxnId="{0048D9F6-DAAF-4392-9757-0E16CA81C7C4}">
      <dgm:prSet/>
      <dgm:spPr/>
      <dgm:t>
        <a:bodyPr/>
        <a:lstStyle/>
        <a:p>
          <a:endParaRPr lang="en-US" sz="2000">
            <a:solidFill>
              <a:srgbClr val="000000"/>
            </a:solidFill>
          </a:endParaRPr>
        </a:p>
      </dgm:t>
    </dgm:pt>
    <dgm:pt modelId="{9EB210EC-8A24-41B2-B515-DEEECD6365EB}" type="sibTrans" cxnId="{0048D9F6-DAAF-4392-9757-0E16CA81C7C4}">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3">
        <dgm:presLayoutVars>
          <dgm:bulletEnabled val="1"/>
        </dgm:presLayoutVars>
      </dgm:prSet>
      <dgm:spPr/>
      <dgm:t>
        <a:bodyPr/>
        <a:lstStyle/>
        <a:p>
          <a:endParaRPr lang="en-US"/>
        </a:p>
      </dgm:t>
    </dgm:pt>
    <dgm:pt modelId="{E8CACB1F-978C-41CC-A5FF-0E876DF13E2B}" type="pres">
      <dgm:prSet presAssocID="{82849804-2AED-48A0-8766-D72564D703AA}" presName="parentText" presStyleLbl="node1" presStyleIdx="1" presStyleCnt="3">
        <dgm:presLayoutVars>
          <dgm:chMax val="0"/>
          <dgm:bulletEnabled val="1"/>
        </dgm:presLayoutVars>
      </dgm:prSet>
      <dgm:spPr/>
      <dgm:t>
        <a:bodyPr/>
        <a:lstStyle/>
        <a:p>
          <a:endParaRPr lang="en-US"/>
        </a:p>
      </dgm:t>
    </dgm:pt>
    <dgm:pt modelId="{92E32F99-F753-4F50-8A51-CF17C879E123}" type="pres">
      <dgm:prSet presAssocID="{82849804-2AED-48A0-8766-D72564D703AA}" presName="childText" presStyleLbl="revTx" presStyleIdx="1" presStyleCnt="3">
        <dgm:presLayoutVars>
          <dgm:bulletEnabled val="1"/>
        </dgm:presLayoutVars>
      </dgm:prSet>
      <dgm:spPr/>
      <dgm:t>
        <a:bodyPr/>
        <a:lstStyle/>
        <a:p>
          <a:endParaRPr lang="en-US"/>
        </a:p>
      </dgm:t>
    </dgm:pt>
    <dgm:pt modelId="{7EEEF63B-AB8D-436F-8506-C75176339987}" type="pres">
      <dgm:prSet presAssocID="{86A78685-511C-406A-A84A-A3404CB03E1E}" presName="parentText" presStyleLbl="node1" presStyleIdx="2" presStyleCnt="3">
        <dgm:presLayoutVars>
          <dgm:chMax val="0"/>
          <dgm:bulletEnabled val="1"/>
        </dgm:presLayoutVars>
      </dgm:prSet>
      <dgm:spPr/>
      <dgm:t>
        <a:bodyPr/>
        <a:lstStyle/>
        <a:p>
          <a:endParaRPr lang="en-US"/>
        </a:p>
      </dgm:t>
    </dgm:pt>
    <dgm:pt modelId="{EB656B1B-16AE-494F-BF5C-FDE471797109}" type="pres">
      <dgm:prSet presAssocID="{86A78685-511C-406A-A84A-A3404CB03E1E}" presName="childText" presStyleLbl="revTx" presStyleIdx="2" presStyleCnt="3">
        <dgm:presLayoutVars>
          <dgm:bulletEnabled val="1"/>
        </dgm:presLayoutVars>
      </dgm:prSet>
      <dgm:spPr/>
      <dgm:t>
        <a:bodyPr/>
        <a:lstStyle/>
        <a:p>
          <a:endParaRPr lang="en-US"/>
        </a:p>
      </dgm:t>
    </dgm:pt>
  </dgm:ptLst>
  <dgm:cxnLst>
    <dgm:cxn modelId="{E07CAD63-0E86-4D7B-A66A-5C3588C48197}" srcId="{29B1402D-A153-4C5A-BE98-8D9F1780C5D8}" destId="{01B48101-CFA8-4641-83C7-B22F9ABEB30B}" srcOrd="0" destOrd="0" parTransId="{4D5AEF54-14FE-4BA4-987A-BECEB44108D1}" sibTransId="{F03A470E-D788-4E8C-8198-3EC2B90C12B1}"/>
    <dgm:cxn modelId="{F4D76BEE-57DB-4380-B994-B5CAC8F27DDD}" type="presOf" srcId="{A283E88D-7A17-44B5-831B-D1E9769D05DE}" destId="{92E32F99-F753-4F50-8A51-CF17C879E123}" srcOrd="0" destOrd="1" presId="urn:microsoft.com/office/officeart/2005/8/layout/vList2"/>
    <dgm:cxn modelId="{8901DD26-DA66-44CF-891D-88F238D85642}" type="presOf" srcId="{01B48101-CFA8-4641-83C7-B22F9ABEB30B}" destId="{A77B38D6-8EF8-4F56-B969-6807478B1038}" srcOrd="0" destOrd="0" presId="urn:microsoft.com/office/officeart/2005/8/layout/vList2"/>
    <dgm:cxn modelId="{A7FDC076-2E46-427A-9B62-8BB1B6E71B9F}" type="presOf" srcId="{82849804-2AED-48A0-8766-D72564D703AA}" destId="{E8CACB1F-978C-41CC-A5FF-0E876DF13E2B}" srcOrd="0" destOrd="0" presId="urn:microsoft.com/office/officeart/2005/8/layout/vList2"/>
    <dgm:cxn modelId="{0048D9F6-DAAF-4392-9757-0E16CA81C7C4}" srcId="{29B1402D-A153-4C5A-BE98-8D9F1780C5D8}" destId="{86A78685-511C-406A-A84A-A3404CB03E1E}" srcOrd="2" destOrd="0" parTransId="{DB46CB53-E0D6-431E-A170-EB766798C58B}" sibTransId="{9EB210EC-8A24-41B2-B515-DEEECD6365EB}"/>
    <dgm:cxn modelId="{969A1D61-0485-4DE8-96BA-2E1C32C2F912}" type="presOf" srcId="{FA204C81-CBDB-47BD-A612-A53F628CF38D}" destId="{EB656B1B-16AE-494F-BF5C-FDE471797109}" srcOrd="0" destOrd="0" presId="urn:microsoft.com/office/officeart/2005/8/layout/vList2"/>
    <dgm:cxn modelId="{9F8F5341-E44F-480E-BCE2-473F75802D11}" type="presOf" srcId="{276C4FA8-9DDF-4A20-9A7B-2777A034DD9D}" destId="{92E32F99-F753-4F50-8A51-CF17C879E123}" srcOrd="0" destOrd="2" presId="urn:microsoft.com/office/officeart/2005/8/layout/vList2"/>
    <dgm:cxn modelId="{50CCE2FC-C8A3-41C2-8908-0E1E6BEDC5B0}" type="presOf" srcId="{29B1402D-A153-4C5A-BE98-8D9F1780C5D8}" destId="{EA2E1B46-256E-4363-AF1A-0C8557BCBA36}" srcOrd="0" destOrd="0" presId="urn:microsoft.com/office/officeart/2005/8/layout/vList2"/>
    <dgm:cxn modelId="{A9EE90EB-6148-4144-A009-2E8BCD8B5733}" srcId="{86A78685-511C-406A-A84A-A3404CB03E1E}" destId="{FA204C81-CBDB-47BD-A612-A53F628CF38D}" srcOrd="0" destOrd="0" parTransId="{0419BEB1-973A-4CD6-8140-18253A1C8630}" sibTransId="{231E801C-4850-4AA7-B4C6-4FD9D9307DAA}"/>
    <dgm:cxn modelId="{F0C89009-D762-4E2D-B962-FAC76E7CC1A3}" srcId="{82849804-2AED-48A0-8766-D72564D703AA}" destId="{19DC0B64-822A-452C-B777-39F182730F2B}" srcOrd="0" destOrd="0" parTransId="{4D8721B0-B5B5-4FAB-ACFC-B6CA497DC840}" sibTransId="{1F9BBD1D-1CE3-43F0-AE2C-6D66750EE9E3}"/>
    <dgm:cxn modelId="{419A4A20-7B22-4C78-BBF4-737CA0A9B3BE}" srcId="{82849804-2AED-48A0-8766-D72564D703AA}" destId="{276C4FA8-9DDF-4A20-9A7B-2777A034DD9D}" srcOrd="2" destOrd="0" parTransId="{C0A0D36A-377C-4785-A140-B3885F1BDC83}" sibTransId="{E6350F79-3154-4989-9CFA-4B14E2E2F01C}"/>
    <dgm:cxn modelId="{2950E089-9500-42FB-9064-55621A14124F}" type="presOf" srcId="{19DC0B64-822A-452C-B777-39F182730F2B}" destId="{92E32F99-F753-4F50-8A51-CF17C879E123}" srcOrd="0" destOrd="0" presId="urn:microsoft.com/office/officeart/2005/8/layout/vList2"/>
    <dgm:cxn modelId="{2F213142-18F7-45DE-8E71-A830EF0C1A9A}" srcId="{29B1402D-A153-4C5A-BE98-8D9F1780C5D8}" destId="{82849804-2AED-48A0-8766-D72564D703AA}" srcOrd="1" destOrd="0" parTransId="{3BC04760-25DE-40A6-984C-F810382E56B4}" sibTransId="{F9478372-177E-4EA7-985D-C19291FD9936}"/>
    <dgm:cxn modelId="{A809A06D-FA68-448C-B6C5-1C7AB24B4CAD}" srcId="{01B48101-CFA8-4641-83C7-B22F9ABEB30B}" destId="{AE929C70-8DC0-4A53-90DC-DE16D5D5D277}" srcOrd="0" destOrd="0" parTransId="{23660A76-DDCA-4498-B653-2E70A10FE75C}" sibTransId="{B0CC2CF5-50E5-44C6-BEEA-0D129998095F}"/>
    <dgm:cxn modelId="{931F7649-1525-4633-A7C6-65991DBD4C7C}" type="presOf" srcId="{86A78685-511C-406A-A84A-A3404CB03E1E}" destId="{7EEEF63B-AB8D-436F-8506-C75176339987}" srcOrd="0" destOrd="0" presId="urn:microsoft.com/office/officeart/2005/8/layout/vList2"/>
    <dgm:cxn modelId="{7D782F30-52FE-4FB0-98D9-9FB2BAE1352C}" srcId="{82849804-2AED-48A0-8766-D72564D703AA}" destId="{A283E88D-7A17-44B5-831B-D1E9769D05DE}" srcOrd="1" destOrd="0" parTransId="{D9BC66E9-2C30-498C-AB3C-734D0EF33AE9}" sibTransId="{BF779655-887A-42D9-BE06-27CB6F20B1C0}"/>
    <dgm:cxn modelId="{B45780DF-5B5A-4995-90FB-E659312DA09C}" type="presOf" srcId="{AE929C70-8DC0-4A53-90DC-DE16D5D5D277}" destId="{D35D2B51-CDB9-456F-AB69-03B1DA780EB7}" srcOrd="0" destOrd="0" presId="urn:microsoft.com/office/officeart/2005/8/layout/vList2"/>
    <dgm:cxn modelId="{C74CA78C-4914-4B88-8DE5-6F235F3810C2}" type="presParOf" srcId="{EA2E1B46-256E-4363-AF1A-0C8557BCBA36}" destId="{A77B38D6-8EF8-4F56-B969-6807478B1038}" srcOrd="0" destOrd="0" presId="urn:microsoft.com/office/officeart/2005/8/layout/vList2"/>
    <dgm:cxn modelId="{3A0F6A03-61E2-481A-B36F-F63EFF36C058}" type="presParOf" srcId="{EA2E1B46-256E-4363-AF1A-0C8557BCBA36}" destId="{D35D2B51-CDB9-456F-AB69-03B1DA780EB7}" srcOrd="1" destOrd="0" presId="urn:microsoft.com/office/officeart/2005/8/layout/vList2"/>
    <dgm:cxn modelId="{99042ABE-DEB7-49F2-9203-5123F4816CA2}" type="presParOf" srcId="{EA2E1B46-256E-4363-AF1A-0C8557BCBA36}" destId="{E8CACB1F-978C-41CC-A5FF-0E876DF13E2B}" srcOrd="2" destOrd="0" presId="urn:microsoft.com/office/officeart/2005/8/layout/vList2"/>
    <dgm:cxn modelId="{B963D381-8004-4A3C-9504-3783B3C63DA6}" type="presParOf" srcId="{EA2E1B46-256E-4363-AF1A-0C8557BCBA36}" destId="{92E32F99-F753-4F50-8A51-CF17C879E123}" srcOrd="3" destOrd="0" presId="urn:microsoft.com/office/officeart/2005/8/layout/vList2"/>
    <dgm:cxn modelId="{8EC4B8A3-39CC-41DD-9405-21C069F63BF4}" type="presParOf" srcId="{EA2E1B46-256E-4363-AF1A-0C8557BCBA36}" destId="{7EEEF63B-AB8D-436F-8506-C75176339987}" srcOrd="4" destOrd="0" presId="urn:microsoft.com/office/officeart/2005/8/layout/vList2"/>
    <dgm:cxn modelId="{DFAAD581-547F-4244-870A-63B06FDDA759}" type="presParOf" srcId="{EA2E1B46-256E-4363-AF1A-0C8557BCBA36}" destId="{EB656B1B-16AE-494F-BF5C-FDE471797109}"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Count Query: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91EBF1F-7DA7-45D3-9042-6EE55A81DDFA}">
      <dgm:prSet custT="1"/>
      <dgm:spPr/>
      <dgm:t>
        <a:bodyPr/>
        <a:lstStyle/>
        <a:p>
          <a:r>
            <a:rPr lang="en-US" sz="2000" dirty="0" smtClean="0">
              <a:solidFill>
                <a:srgbClr val="000000"/>
              </a:solidFill>
            </a:rPr>
            <a:t>db.employees.find().count();</a:t>
          </a:r>
        </a:p>
      </dgm:t>
    </dgm:pt>
    <dgm:pt modelId="{4C43CCF6-285C-4931-9F5F-2BFD16BBB018}" type="parTrans" cxnId="{B1524DB5-50F0-4618-83CC-3CBBB8CF1136}">
      <dgm:prSet/>
      <dgm:spPr/>
      <dgm:t>
        <a:bodyPr/>
        <a:lstStyle/>
        <a:p>
          <a:endParaRPr lang="en-US" sz="2000">
            <a:solidFill>
              <a:srgbClr val="000000"/>
            </a:solidFill>
          </a:endParaRPr>
        </a:p>
      </dgm:t>
    </dgm:pt>
    <dgm:pt modelId="{BD0EB89E-8488-4DF1-B1F6-059CABD02BED}" type="sibTrans" cxnId="{B1524DB5-50F0-4618-83CC-3CBBB8CF1136}">
      <dgm:prSet/>
      <dgm:spPr/>
      <dgm:t>
        <a:bodyPr/>
        <a:lstStyle/>
        <a:p>
          <a:endParaRPr lang="en-US" sz="2000">
            <a:solidFill>
              <a:srgbClr val="000000"/>
            </a:solidFill>
          </a:endParaRPr>
        </a:p>
      </dgm:t>
    </dgm:pt>
    <dgm:pt modelId="{2AA0E937-5554-4986-B5EC-A6AEEFA1C2B2}">
      <dgm:prSet custT="1"/>
      <dgm:spPr/>
      <dgm:t>
        <a:bodyPr/>
        <a:lstStyle/>
        <a:p>
          <a:r>
            <a:rPr lang="en-US" sz="2000" dirty="0" smtClean="0">
              <a:solidFill>
                <a:srgbClr val="000000"/>
              </a:solidFill>
            </a:rPr>
            <a:t>Skip Query: </a:t>
          </a:r>
        </a:p>
      </dgm:t>
    </dgm:pt>
    <dgm:pt modelId="{A72FE3AB-ADF9-4A9A-8FE7-3DCBAA05FD78}" type="parTrans" cxnId="{65751266-665D-439D-93A6-3E76D6DF4761}">
      <dgm:prSet/>
      <dgm:spPr/>
      <dgm:t>
        <a:bodyPr/>
        <a:lstStyle/>
        <a:p>
          <a:endParaRPr lang="en-US" sz="2000">
            <a:solidFill>
              <a:srgbClr val="000000"/>
            </a:solidFill>
          </a:endParaRPr>
        </a:p>
      </dgm:t>
    </dgm:pt>
    <dgm:pt modelId="{4D5B3260-D77F-4C14-9B72-7E64A0749839}" type="sibTrans" cxnId="{65751266-665D-439D-93A6-3E76D6DF4761}">
      <dgm:prSet/>
      <dgm:spPr/>
      <dgm:t>
        <a:bodyPr/>
        <a:lstStyle/>
        <a:p>
          <a:endParaRPr lang="en-US" sz="2000">
            <a:solidFill>
              <a:srgbClr val="000000"/>
            </a:solidFill>
          </a:endParaRPr>
        </a:p>
      </dgm:t>
    </dgm:pt>
    <dgm:pt modelId="{BA6A8BD0-078B-4E0C-93B4-B65E34E84101}">
      <dgm:prSet custT="1"/>
      <dgm:spPr/>
      <dgm:t>
        <a:bodyPr/>
        <a:lstStyle/>
        <a:p>
          <a:r>
            <a:rPr lang="en-US" sz="2000" dirty="0" smtClean="0">
              <a:solidFill>
                <a:srgbClr val="000000"/>
              </a:solidFill>
            </a:rPr>
            <a:t>db.employees.find().skip(5);</a:t>
          </a:r>
          <a:endParaRPr lang="en-US" sz="2000" dirty="0">
            <a:solidFill>
              <a:srgbClr val="000000"/>
            </a:solidFill>
          </a:endParaRPr>
        </a:p>
      </dgm:t>
    </dgm:pt>
    <dgm:pt modelId="{ACF7ACD8-941F-45E7-B792-C4D575F13D91}" type="parTrans" cxnId="{3262474A-56C4-4CD1-A798-BE731814CEA5}">
      <dgm:prSet/>
      <dgm:spPr/>
      <dgm:t>
        <a:bodyPr/>
        <a:lstStyle/>
        <a:p>
          <a:endParaRPr lang="en-US" sz="2000">
            <a:solidFill>
              <a:srgbClr val="000000"/>
            </a:solidFill>
          </a:endParaRPr>
        </a:p>
      </dgm:t>
    </dgm:pt>
    <dgm:pt modelId="{19BA24FC-C11B-4C63-927A-8CA5D40D83A7}" type="sibTrans" cxnId="{3262474A-56C4-4CD1-A798-BE731814CEA5}">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DF7AAEE0-D9D5-4768-99C3-3E991778E7EA}" type="pres">
      <dgm:prSet presAssocID="{2AA0E937-5554-4986-B5EC-A6AEEFA1C2B2}" presName="parentText" presStyleLbl="node1" presStyleIdx="1" presStyleCnt="2">
        <dgm:presLayoutVars>
          <dgm:chMax val="0"/>
          <dgm:bulletEnabled val="1"/>
        </dgm:presLayoutVars>
      </dgm:prSet>
      <dgm:spPr/>
      <dgm:t>
        <a:bodyPr/>
        <a:lstStyle/>
        <a:p>
          <a:endParaRPr lang="en-US"/>
        </a:p>
      </dgm:t>
    </dgm:pt>
    <dgm:pt modelId="{3937A03A-F828-43D5-A96C-11F2A6843ADA}" type="pres">
      <dgm:prSet presAssocID="{2AA0E937-5554-4986-B5EC-A6AEEFA1C2B2}" presName="childText" presStyleLbl="revTx" presStyleIdx="1" presStyleCnt="2">
        <dgm:presLayoutVars>
          <dgm:bulletEnabled val="1"/>
        </dgm:presLayoutVars>
      </dgm:prSet>
      <dgm:spPr/>
      <dgm:t>
        <a:bodyPr/>
        <a:lstStyle/>
        <a:p>
          <a:endParaRPr lang="en-US"/>
        </a:p>
      </dgm:t>
    </dgm:pt>
  </dgm:ptLst>
  <dgm:cxnLst>
    <dgm:cxn modelId="{8440E4D5-A1C5-47B4-8B30-128D1BDFBEE5}" type="presOf" srcId="{01B48101-CFA8-4641-83C7-B22F9ABEB30B}" destId="{A77B38D6-8EF8-4F56-B969-6807478B1038}" srcOrd="0" destOrd="0" presId="urn:microsoft.com/office/officeart/2005/8/layout/vList2"/>
    <dgm:cxn modelId="{3262474A-56C4-4CD1-A798-BE731814CEA5}" srcId="{2AA0E937-5554-4986-B5EC-A6AEEFA1C2B2}" destId="{BA6A8BD0-078B-4E0C-93B4-B65E34E84101}" srcOrd="0" destOrd="0" parTransId="{ACF7ACD8-941F-45E7-B792-C4D575F13D91}" sibTransId="{19BA24FC-C11B-4C63-927A-8CA5D40D83A7}"/>
    <dgm:cxn modelId="{AD1ABE49-C598-471C-AD9B-1C8A35E857AD}" type="presOf" srcId="{BA6A8BD0-078B-4E0C-93B4-B65E34E84101}" destId="{3937A03A-F828-43D5-A96C-11F2A6843ADA}" srcOrd="0" destOrd="0" presId="urn:microsoft.com/office/officeart/2005/8/layout/vList2"/>
    <dgm:cxn modelId="{F336F6C9-A2B4-478B-98CA-1953CD919FC7}" type="presOf" srcId="{2AA0E937-5554-4986-B5EC-A6AEEFA1C2B2}" destId="{DF7AAEE0-D9D5-4768-99C3-3E991778E7EA}" srcOrd="0" destOrd="0" presId="urn:microsoft.com/office/officeart/2005/8/layout/vList2"/>
    <dgm:cxn modelId="{30D106D7-7E7C-40E5-94B0-13999F2420F2}" type="presOf" srcId="{29B1402D-A153-4C5A-BE98-8D9F1780C5D8}" destId="{EA2E1B46-256E-4363-AF1A-0C8557BCBA36}" srcOrd="0" destOrd="0" presId="urn:microsoft.com/office/officeart/2005/8/layout/vList2"/>
    <dgm:cxn modelId="{B1524DB5-50F0-4618-83CC-3CBBB8CF1136}" srcId="{01B48101-CFA8-4641-83C7-B22F9ABEB30B}" destId="{891EBF1F-7DA7-45D3-9042-6EE55A81DDFA}" srcOrd="0" destOrd="0" parTransId="{4C43CCF6-285C-4931-9F5F-2BFD16BBB018}" sibTransId="{BD0EB89E-8488-4DF1-B1F6-059CABD02BED}"/>
    <dgm:cxn modelId="{B6038C55-13AC-4E03-BBDF-D7DDA93CB76F}" type="presOf" srcId="{891EBF1F-7DA7-45D3-9042-6EE55A81DDFA}" destId="{D35D2B51-CDB9-456F-AB69-03B1DA780EB7}" srcOrd="0" destOrd="0" presId="urn:microsoft.com/office/officeart/2005/8/layout/vList2"/>
    <dgm:cxn modelId="{65751266-665D-439D-93A6-3E76D6DF4761}" srcId="{29B1402D-A153-4C5A-BE98-8D9F1780C5D8}" destId="{2AA0E937-5554-4986-B5EC-A6AEEFA1C2B2}" srcOrd="1" destOrd="0" parTransId="{A72FE3AB-ADF9-4A9A-8FE7-3DCBAA05FD78}" sibTransId="{4D5B3260-D77F-4C14-9B72-7E64A0749839}"/>
    <dgm:cxn modelId="{E07CAD63-0E86-4D7B-A66A-5C3588C48197}" srcId="{29B1402D-A153-4C5A-BE98-8D9F1780C5D8}" destId="{01B48101-CFA8-4641-83C7-B22F9ABEB30B}" srcOrd="0" destOrd="0" parTransId="{4D5AEF54-14FE-4BA4-987A-BECEB44108D1}" sibTransId="{F03A470E-D788-4E8C-8198-3EC2B90C12B1}"/>
    <dgm:cxn modelId="{B9B07AC6-EF08-46D6-AC94-8023EC4D251F}" type="presParOf" srcId="{EA2E1B46-256E-4363-AF1A-0C8557BCBA36}" destId="{A77B38D6-8EF8-4F56-B969-6807478B1038}" srcOrd="0" destOrd="0" presId="urn:microsoft.com/office/officeart/2005/8/layout/vList2"/>
    <dgm:cxn modelId="{66CD765A-7989-42C4-936D-BF64AAC95066}" type="presParOf" srcId="{EA2E1B46-256E-4363-AF1A-0C8557BCBA36}" destId="{D35D2B51-CDB9-456F-AB69-03B1DA780EB7}" srcOrd="1" destOrd="0" presId="urn:microsoft.com/office/officeart/2005/8/layout/vList2"/>
    <dgm:cxn modelId="{F12B7C49-B964-464C-94FC-05423F4A29F3}" type="presParOf" srcId="{EA2E1B46-256E-4363-AF1A-0C8557BCBA36}" destId="{DF7AAEE0-D9D5-4768-99C3-3E991778E7EA}" srcOrd="2" destOrd="0" presId="urn:microsoft.com/office/officeart/2005/8/layout/vList2"/>
    <dgm:cxn modelId="{2287791E-F74A-44F3-97B1-AE32909A164B}" type="presParOf" srcId="{EA2E1B46-256E-4363-AF1A-0C8557BCBA36}" destId="{3937A03A-F828-43D5-A96C-11F2A6843ADA}"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Querying for an entire embedded document works identically to a normal quer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E7E6BA6B-9173-4121-B50C-42D334427C67}">
      <dgm:prSet custT="1"/>
      <dgm:spPr/>
      <dgm:t>
        <a:bodyPr/>
        <a:lstStyle/>
        <a:p>
          <a:r>
            <a:rPr lang="en-US" sz="2000" dirty="0" smtClean="0">
              <a:solidFill>
                <a:srgbClr val="000000"/>
              </a:solidFill>
            </a:rPr>
            <a:t>db.employees.find( {name: { first:"Amit", last:"Kumar" } } )</a:t>
          </a:r>
        </a:p>
      </dgm:t>
    </dgm:pt>
    <dgm:pt modelId="{ECE988C1-C06E-4B1B-982E-E4E4D8FE4B00}" type="parTrans" cxnId="{EA6463C0-1EEA-43A0-9BCE-B9B44793B75E}">
      <dgm:prSet/>
      <dgm:spPr/>
      <dgm:t>
        <a:bodyPr/>
        <a:lstStyle/>
        <a:p>
          <a:endParaRPr lang="en-US" sz="2000">
            <a:solidFill>
              <a:srgbClr val="000000"/>
            </a:solidFill>
          </a:endParaRPr>
        </a:p>
      </dgm:t>
    </dgm:pt>
    <dgm:pt modelId="{E28DA431-D74E-4A5D-AAD6-396E223398A2}" type="sibTrans" cxnId="{EA6463C0-1EEA-43A0-9BCE-B9B44793B75E}">
      <dgm:prSet/>
      <dgm:spPr/>
      <dgm:t>
        <a:bodyPr/>
        <a:lstStyle/>
        <a:p>
          <a:endParaRPr lang="en-US" sz="2000">
            <a:solidFill>
              <a:srgbClr val="000000"/>
            </a:solidFill>
          </a:endParaRPr>
        </a:p>
      </dgm:t>
    </dgm:pt>
    <dgm:pt modelId="{7AFD690E-F44F-425F-A1D4-C47F8EA62981}">
      <dgm:prSet custT="1"/>
      <dgm:spPr/>
      <dgm:t>
        <a:bodyPr/>
        <a:lstStyle/>
        <a:p>
          <a:r>
            <a:rPr lang="en-US" sz="2000" dirty="0" smtClean="0">
              <a:solidFill>
                <a:srgbClr val="000000"/>
              </a:solidFill>
            </a:rPr>
            <a:t>This query will do exact match and order too matters, if order will change then it will not find.</a:t>
          </a:r>
        </a:p>
      </dgm:t>
    </dgm:pt>
    <dgm:pt modelId="{E24ED359-F74A-4BFC-83E0-0C6E2EC64CEA}" type="parTrans" cxnId="{BB3600F8-6453-4033-A492-9FEECE300BEB}">
      <dgm:prSet/>
      <dgm:spPr/>
      <dgm:t>
        <a:bodyPr/>
        <a:lstStyle/>
        <a:p>
          <a:endParaRPr lang="en-US" sz="2000">
            <a:solidFill>
              <a:srgbClr val="000000"/>
            </a:solidFill>
          </a:endParaRPr>
        </a:p>
      </dgm:t>
    </dgm:pt>
    <dgm:pt modelId="{6F6E599C-90BB-40C2-B405-61B447A96232}" type="sibTrans" cxnId="{BB3600F8-6453-4033-A492-9FEECE300BEB}">
      <dgm:prSet/>
      <dgm:spPr/>
      <dgm:t>
        <a:bodyPr/>
        <a:lstStyle/>
        <a:p>
          <a:endParaRPr lang="en-US" sz="2000">
            <a:solidFill>
              <a:srgbClr val="000000"/>
            </a:solidFill>
          </a:endParaRPr>
        </a:p>
      </dgm:t>
    </dgm:pt>
    <dgm:pt modelId="{265FBB3E-8A6F-4C4D-8AC8-C0C77EBAF5E2}">
      <dgm:prSet custT="1"/>
      <dgm:spPr/>
      <dgm:t>
        <a:bodyPr/>
        <a:lstStyle/>
        <a:p>
          <a:r>
            <a:rPr lang="en-US" sz="2000" dirty="0" smtClean="0">
              <a:solidFill>
                <a:srgbClr val="000000"/>
              </a:solidFill>
            </a:rPr>
            <a:t>2. Querying for its individual key/value pairs.</a:t>
          </a:r>
        </a:p>
      </dgm:t>
    </dgm:pt>
    <dgm:pt modelId="{C3471090-382D-41A8-9B61-45C45A76DE2C}" type="parTrans" cxnId="{23CECB32-E137-4D24-B4E4-5E17B71FD59D}">
      <dgm:prSet/>
      <dgm:spPr/>
      <dgm:t>
        <a:bodyPr/>
        <a:lstStyle/>
        <a:p>
          <a:endParaRPr lang="en-US" sz="2000">
            <a:solidFill>
              <a:srgbClr val="000000"/>
            </a:solidFill>
          </a:endParaRPr>
        </a:p>
      </dgm:t>
    </dgm:pt>
    <dgm:pt modelId="{F27FC05E-6F63-4074-9D8B-605E782878E9}" type="sibTrans" cxnId="{23CECB32-E137-4D24-B4E4-5E17B71FD59D}">
      <dgm:prSet/>
      <dgm:spPr/>
      <dgm:t>
        <a:bodyPr/>
        <a:lstStyle/>
        <a:p>
          <a:endParaRPr lang="en-US" sz="2000">
            <a:solidFill>
              <a:srgbClr val="000000"/>
            </a:solidFill>
          </a:endParaRPr>
        </a:p>
      </dgm:t>
    </dgm:pt>
    <dgm:pt modelId="{AFA885E4-5330-4B6E-9418-EA8F0BFCA587}">
      <dgm:prSet custT="1"/>
      <dgm:spPr/>
      <dgm:t>
        <a:bodyPr/>
        <a:lstStyle/>
        <a:p>
          <a:r>
            <a:rPr lang="en-US" sz="2000" dirty="0" smtClean="0">
              <a:solidFill>
                <a:srgbClr val="000000"/>
              </a:solidFill>
            </a:rPr>
            <a:t>db.employees.find({"name.first" : "Amit", "name.last" : "Kumar"}) </a:t>
          </a:r>
          <a:endParaRPr lang="en-US" sz="2000" dirty="0">
            <a:solidFill>
              <a:srgbClr val="000000"/>
            </a:solidFill>
          </a:endParaRPr>
        </a:p>
      </dgm:t>
    </dgm:pt>
    <dgm:pt modelId="{F936681C-69F9-41A3-AADE-2D2FD5E17AE7}" type="parTrans" cxnId="{39716262-C2B8-472E-81C5-2BE87F434E7E}">
      <dgm:prSet/>
      <dgm:spPr/>
      <dgm:t>
        <a:bodyPr/>
        <a:lstStyle/>
        <a:p>
          <a:endParaRPr lang="en-US" sz="2000">
            <a:solidFill>
              <a:srgbClr val="000000"/>
            </a:solidFill>
          </a:endParaRPr>
        </a:p>
      </dgm:t>
    </dgm:pt>
    <dgm:pt modelId="{263971FA-3573-4E8B-B5A0-2A6EBF6A24B3}" type="sibTrans" cxnId="{39716262-C2B8-472E-81C5-2BE87F434E7E}">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82817" custLinFactNeighborY="-8849">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AB6F7BDB-CEEB-45B1-95E9-A867F00D7C62}" type="pres">
      <dgm:prSet presAssocID="{265FBB3E-8A6F-4C4D-8AC8-C0C77EBAF5E2}" presName="parentText" presStyleLbl="node1" presStyleIdx="1" presStyleCnt="2" custScaleY="66478">
        <dgm:presLayoutVars>
          <dgm:chMax val="0"/>
          <dgm:bulletEnabled val="1"/>
        </dgm:presLayoutVars>
      </dgm:prSet>
      <dgm:spPr/>
      <dgm:t>
        <a:bodyPr/>
        <a:lstStyle/>
        <a:p>
          <a:endParaRPr lang="en-US"/>
        </a:p>
      </dgm:t>
    </dgm:pt>
    <dgm:pt modelId="{14B902FF-9445-41EC-8D7B-742DF41DE420}" type="pres">
      <dgm:prSet presAssocID="{265FBB3E-8A6F-4C4D-8AC8-C0C77EBAF5E2}" presName="childText" presStyleLbl="revTx" presStyleIdx="1" presStyleCnt="2">
        <dgm:presLayoutVars>
          <dgm:bulletEnabled val="1"/>
        </dgm:presLayoutVars>
      </dgm:prSet>
      <dgm:spPr/>
      <dgm:t>
        <a:bodyPr/>
        <a:lstStyle/>
        <a:p>
          <a:endParaRPr lang="en-US"/>
        </a:p>
      </dgm:t>
    </dgm:pt>
  </dgm:ptLst>
  <dgm:cxnLst>
    <dgm:cxn modelId="{BB3600F8-6453-4033-A492-9FEECE300BEB}" srcId="{01B48101-CFA8-4641-83C7-B22F9ABEB30B}" destId="{7AFD690E-F44F-425F-A1D4-C47F8EA62981}" srcOrd="1" destOrd="0" parTransId="{E24ED359-F74A-4BFC-83E0-0C6E2EC64CEA}" sibTransId="{6F6E599C-90BB-40C2-B405-61B447A96232}"/>
    <dgm:cxn modelId="{EA6463C0-1EEA-43A0-9BCE-B9B44793B75E}" srcId="{01B48101-CFA8-4641-83C7-B22F9ABEB30B}" destId="{E7E6BA6B-9173-4121-B50C-42D334427C67}" srcOrd="0" destOrd="0" parTransId="{ECE988C1-C06E-4B1B-982E-E4E4D8FE4B00}" sibTransId="{E28DA431-D74E-4A5D-AAD6-396E223398A2}"/>
    <dgm:cxn modelId="{39716262-C2B8-472E-81C5-2BE87F434E7E}" srcId="{265FBB3E-8A6F-4C4D-8AC8-C0C77EBAF5E2}" destId="{AFA885E4-5330-4B6E-9418-EA8F0BFCA587}" srcOrd="0" destOrd="0" parTransId="{F936681C-69F9-41A3-AADE-2D2FD5E17AE7}" sibTransId="{263971FA-3573-4E8B-B5A0-2A6EBF6A24B3}"/>
    <dgm:cxn modelId="{F1578265-ADF6-422F-B175-1AC5C9415F27}" type="presOf" srcId="{265FBB3E-8A6F-4C4D-8AC8-C0C77EBAF5E2}" destId="{AB6F7BDB-CEEB-45B1-95E9-A867F00D7C62}" srcOrd="0" destOrd="0" presId="urn:microsoft.com/office/officeart/2005/8/layout/vList2"/>
    <dgm:cxn modelId="{765511FA-121A-413F-949A-F55F090EFF65}" type="presOf" srcId="{29B1402D-A153-4C5A-BE98-8D9F1780C5D8}" destId="{EA2E1B46-256E-4363-AF1A-0C8557BCBA36}" srcOrd="0" destOrd="0" presId="urn:microsoft.com/office/officeart/2005/8/layout/vList2"/>
    <dgm:cxn modelId="{FFBD636B-9BE0-477B-AAC9-99F6B320799B}" type="presOf" srcId="{01B48101-CFA8-4641-83C7-B22F9ABEB30B}" destId="{A77B38D6-8EF8-4F56-B969-6807478B1038}" srcOrd="0" destOrd="0" presId="urn:microsoft.com/office/officeart/2005/8/layout/vList2"/>
    <dgm:cxn modelId="{23CECB32-E137-4D24-B4E4-5E17B71FD59D}" srcId="{29B1402D-A153-4C5A-BE98-8D9F1780C5D8}" destId="{265FBB3E-8A6F-4C4D-8AC8-C0C77EBAF5E2}" srcOrd="1" destOrd="0" parTransId="{C3471090-382D-41A8-9B61-45C45A76DE2C}" sibTransId="{F27FC05E-6F63-4074-9D8B-605E782878E9}"/>
    <dgm:cxn modelId="{2BE9C34E-7591-4246-A71D-69A51542CC5C}" type="presOf" srcId="{AFA885E4-5330-4B6E-9418-EA8F0BFCA587}" destId="{14B902FF-9445-41EC-8D7B-742DF41DE420}" srcOrd="0" destOrd="0" presId="urn:microsoft.com/office/officeart/2005/8/layout/vList2"/>
    <dgm:cxn modelId="{0E1AA96E-8515-4DE3-B5D0-AED3195299C6}" type="presOf" srcId="{E7E6BA6B-9173-4121-B50C-42D334427C67}" destId="{D35D2B51-CDB9-456F-AB69-03B1DA780EB7}" srcOrd="0" destOrd="0" presId="urn:microsoft.com/office/officeart/2005/8/layout/vList2"/>
    <dgm:cxn modelId="{8250B582-D37E-42E0-A53B-FCD8442B398C}" type="presOf" srcId="{7AFD690E-F44F-425F-A1D4-C47F8EA62981}" destId="{D35D2B51-CDB9-456F-AB69-03B1DA780EB7}" srcOrd="0" destOrd="1"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96D69858-0918-4130-9400-B358E292A66F}" type="presParOf" srcId="{EA2E1B46-256E-4363-AF1A-0C8557BCBA36}" destId="{A77B38D6-8EF8-4F56-B969-6807478B1038}" srcOrd="0" destOrd="0" presId="urn:microsoft.com/office/officeart/2005/8/layout/vList2"/>
    <dgm:cxn modelId="{E169C119-68A8-429E-9D45-69635F2A53E9}" type="presParOf" srcId="{EA2E1B46-256E-4363-AF1A-0C8557BCBA36}" destId="{D35D2B51-CDB9-456F-AB69-03B1DA780EB7}" srcOrd="1" destOrd="0" presId="urn:microsoft.com/office/officeart/2005/8/layout/vList2"/>
    <dgm:cxn modelId="{EAD5B965-24A6-4D11-9ABD-45A09015DC12}" type="presParOf" srcId="{EA2E1B46-256E-4363-AF1A-0C8557BCBA36}" destId="{AB6F7BDB-CEEB-45B1-95E9-A867F00D7C62}" srcOrd="2" destOrd="0" presId="urn:microsoft.com/office/officeart/2005/8/layout/vList2"/>
    <dgm:cxn modelId="{E07FB68F-0D73-4C56-B697-F7E3228FE95A}" type="presParOf" srcId="{EA2E1B46-256E-4363-AF1A-0C8557BCBA36}" destId="{14B902FF-9445-41EC-8D7B-742DF41DE420}"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5BB20DB-4F4A-454B-8A45-3ACF48E6041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452ACB8-B94C-4BD9-853A-534341527544}">
      <dgm:prSet phldrT="[Text]" custT="1"/>
      <dgm:spPr/>
      <dgm:t>
        <a:bodyPr/>
        <a:lstStyle/>
        <a:p>
          <a:r>
            <a:rPr lang="en-US" sz="2000" dirty="0" smtClean="0"/>
            <a:t>To insert data into MongoDB collection, we have a method </a:t>
          </a:r>
        </a:p>
        <a:p>
          <a:r>
            <a:rPr lang="en-US" sz="2000" dirty="0" smtClean="0"/>
            <a:t>called insert() or save() method.</a:t>
          </a:r>
          <a:endParaRPr lang="en-US" sz="2000" dirty="0"/>
        </a:p>
      </dgm:t>
    </dgm:pt>
    <dgm:pt modelId="{35409B57-223D-47AC-B489-C584147DA44E}" type="parTrans" cxnId="{36D79605-A2DA-4AD1-938B-ACC5CCA32547}">
      <dgm:prSet/>
      <dgm:spPr/>
      <dgm:t>
        <a:bodyPr/>
        <a:lstStyle/>
        <a:p>
          <a:endParaRPr lang="en-US" sz="2000"/>
        </a:p>
      </dgm:t>
    </dgm:pt>
    <dgm:pt modelId="{B589B5D5-BC3B-4404-B998-E58B6C896F5C}" type="sibTrans" cxnId="{36D79605-A2DA-4AD1-938B-ACC5CCA32547}">
      <dgm:prSet/>
      <dgm:spPr/>
      <dgm:t>
        <a:bodyPr/>
        <a:lstStyle/>
        <a:p>
          <a:endParaRPr lang="en-US" sz="2000"/>
        </a:p>
      </dgm:t>
    </dgm:pt>
    <dgm:pt modelId="{662EA2CE-2942-4125-9971-92C86E1BA1DE}">
      <dgm:prSet phldrT="[Text]" custT="1"/>
      <dgm:spPr/>
      <dgm:t>
        <a:bodyPr/>
        <a:lstStyle/>
        <a:p>
          <a:r>
            <a:rPr lang="en-US" sz="2000" dirty="0" smtClean="0"/>
            <a:t>Basic syntax of </a:t>
          </a:r>
          <a:r>
            <a:rPr lang="en-US" sz="2000" b="1" dirty="0" smtClean="0"/>
            <a:t>insert()</a:t>
          </a:r>
          <a:r>
            <a:rPr lang="en-US" sz="2000" dirty="0" smtClean="0"/>
            <a:t> command is as follows:</a:t>
          </a:r>
          <a:endParaRPr lang="en-US" sz="2000" dirty="0"/>
        </a:p>
      </dgm:t>
    </dgm:pt>
    <dgm:pt modelId="{755B600F-044F-459A-BC6B-820E693224FA}" type="parTrans" cxnId="{C86AE5FC-5BE6-4DC6-9DF7-CCBE5C8E0382}">
      <dgm:prSet/>
      <dgm:spPr/>
      <dgm:t>
        <a:bodyPr/>
        <a:lstStyle/>
        <a:p>
          <a:endParaRPr lang="en-US" sz="2000"/>
        </a:p>
      </dgm:t>
    </dgm:pt>
    <dgm:pt modelId="{792A2C7E-4F07-4BBD-B0E3-7A5F917331FC}" type="sibTrans" cxnId="{C86AE5FC-5BE6-4DC6-9DF7-CCBE5C8E0382}">
      <dgm:prSet/>
      <dgm:spPr/>
      <dgm:t>
        <a:bodyPr/>
        <a:lstStyle/>
        <a:p>
          <a:endParaRPr lang="en-US" sz="2000"/>
        </a:p>
      </dgm:t>
    </dgm:pt>
    <dgm:pt modelId="{D73555E0-64E7-4005-95EC-418193B6C8E1}">
      <dgm:prSet phldrT="[Text]" custT="1"/>
      <dgm:spPr/>
      <dgm:t>
        <a:bodyPr/>
        <a:lstStyle/>
        <a:p>
          <a:r>
            <a:rPr lang="en-US" sz="2000" dirty="0" smtClean="0"/>
            <a:t>&gt;db.COLLECTION_NAME.insert(document)   </a:t>
          </a:r>
          <a:endParaRPr lang="en-US" sz="2000" dirty="0"/>
        </a:p>
      </dgm:t>
    </dgm:pt>
    <dgm:pt modelId="{5ED96ECC-4DFD-4757-AECD-EC66DCAF33CE}" type="parTrans" cxnId="{5163E2F4-CD11-4916-8F38-8C33A4D87EB7}">
      <dgm:prSet/>
      <dgm:spPr/>
      <dgm:t>
        <a:bodyPr/>
        <a:lstStyle/>
        <a:p>
          <a:endParaRPr lang="en-US" sz="2000"/>
        </a:p>
      </dgm:t>
    </dgm:pt>
    <dgm:pt modelId="{8CFCAED0-0E37-453B-9518-67E045FD8039}" type="sibTrans" cxnId="{5163E2F4-CD11-4916-8F38-8C33A4D87EB7}">
      <dgm:prSet/>
      <dgm:spPr/>
      <dgm:t>
        <a:bodyPr/>
        <a:lstStyle/>
        <a:p>
          <a:endParaRPr lang="en-US" sz="2000"/>
        </a:p>
      </dgm:t>
    </dgm:pt>
    <dgm:pt modelId="{51E5C201-B68B-4AE4-B1B0-AD46CF2DB5CC}">
      <dgm:prSet phldrT="[Text]" custT="1"/>
      <dgm:spPr/>
      <dgm:t>
        <a:bodyPr/>
        <a:lstStyle/>
        <a:p>
          <a:r>
            <a:rPr lang="en-US" sz="2000" dirty="0" smtClean="0"/>
            <a:t>Example:</a:t>
          </a:r>
          <a:endParaRPr lang="en-US" sz="2000" dirty="0"/>
        </a:p>
      </dgm:t>
    </dgm:pt>
    <dgm:pt modelId="{249027A9-FD7D-4BF1-92D9-5D6C830A0E53}" type="parTrans" cxnId="{BFF415F5-63F1-44E9-9E44-F9CD16858904}">
      <dgm:prSet/>
      <dgm:spPr/>
      <dgm:t>
        <a:bodyPr/>
        <a:lstStyle/>
        <a:p>
          <a:endParaRPr lang="en-US" sz="2000"/>
        </a:p>
      </dgm:t>
    </dgm:pt>
    <dgm:pt modelId="{A8423DDB-28B3-4125-9768-B99C322EB84D}" type="sibTrans" cxnId="{BFF415F5-63F1-44E9-9E44-F9CD16858904}">
      <dgm:prSet/>
      <dgm:spPr/>
      <dgm:t>
        <a:bodyPr/>
        <a:lstStyle/>
        <a:p>
          <a:endParaRPr lang="en-US" sz="2000"/>
        </a:p>
      </dgm:t>
    </dgm:pt>
    <dgm:pt modelId="{ED7438D2-4CD6-48F8-8FCB-869C20559FBE}">
      <dgm:prSet phldrT="[Text]" custT="1"/>
      <dgm:spPr/>
      <dgm:t>
        <a:bodyPr/>
        <a:lstStyle/>
        <a:p>
          <a:r>
            <a:rPr lang="en-US" sz="2000" dirty="0" smtClean="0"/>
            <a:t>db.tutorialspoint.insert({"name":"tutorialspoint"}) </a:t>
          </a:r>
          <a:endParaRPr lang="en-US" sz="2000" dirty="0"/>
        </a:p>
      </dgm:t>
    </dgm:pt>
    <dgm:pt modelId="{DA6E3200-ADA4-4FB3-9169-782BC04BF8C5}" type="parTrans" cxnId="{1E887929-058D-4D24-A8EE-B137FFD67F91}">
      <dgm:prSet/>
      <dgm:spPr/>
      <dgm:t>
        <a:bodyPr/>
        <a:lstStyle/>
        <a:p>
          <a:endParaRPr lang="en-US" sz="2000"/>
        </a:p>
      </dgm:t>
    </dgm:pt>
    <dgm:pt modelId="{F10658E1-54FF-4537-83B3-DB536BD794C5}" type="sibTrans" cxnId="{1E887929-058D-4D24-A8EE-B137FFD67F91}">
      <dgm:prSet/>
      <dgm:spPr/>
      <dgm:t>
        <a:bodyPr/>
        <a:lstStyle/>
        <a:p>
          <a:endParaRPr lang="en-US" sz="2000"/>
        </a:p>
      </dgm:t>
    </dgm:pt>
    <dgm:pt modelId="{66D0C17F-0FDB-407A-8AD7-1211FBA7411A}">
      <dgm:prSet custT="1"/>
      <dgm:spPr/>
      <dgm:t>
        <a:bodyPr/>
        <a:lstStyle/>
        <a:p>
          <a:r>
            <a:rPr lang="en-US" sz="2000" dirty="0" smtClean="0"/>
            <a:t>db.nextTable.save({column1:"value",column2:"value",...})'</a:t>
          </a:r>
          <a:endParaRPr lang="en-US" sz="2000" dirty="0"/>
        </a:p>
      </dgm:t>
    </dgm:pt>
    <dgm:pt modelId="{E7D99902-682C-4939-8877-E30FA78989D2}" type="parTrans" cxnId="{128A9FA7-F00C-404E-96F5-D96280F36905}">
      <dgm:prSet/>
      <dgm:spPr/>
      <dgm:t>
        <a:bodyPr/>
        <a:lstStyle/>
        <a:p>
          <a:endParaRPr lang="en-US" sz="2000"/>
        </a:p>
      </dgm:t>
    </dgm:pt>
    <dgm:pt modelId="{C5DC921E-26DD-4D00-A26A-629460529F59}" type="sibTrans" cxnId="{128A9FA7-F00C-404E-96F5-D96280F36905}">
      <dgm:prSet/>
      <dgm:spPr/>
      <dgm:t>
        <a:bodyPr/>
        <a:lstStyle/>
        <a:p>
          <a:endParaRPr lang="en-US" sz="2000"/>
        </a:p>
      </dgm:t>
    </dgm:pt>
    <dgm:pt modelId="{86AB509A-E976-4CE7-BBDB-7FFC517C8819}" type="pres">
      <dgm:prSet presAssocID="{25BB20DB-4F4A-454B-8A45-3ACF48E60412}" presName="linear" presStyleCnt="0">
        <dgm:presLayoutVars>
          <dgm:animLvl val="lvl"/>
          <dgm:resizeHandles val="exact"/>
        </dgm:presLayoutVars>
      </dgm:prSet>
      <dgm:spPr/>
      <dgm:t>
        <a:bodyPr/>
        <a:lstStyle/>
        <a:p>
          <a:endParaRPr lang="en-US"/>
        </a:p>
      </dgm:t>
    </dgm:pt>
    <dgm:pt modelId="{C708E0DB-BDA5-4631-8378-3EDC0BD972DF}" type="pres">
      <dgm:prSet presAssocID="{8452ACB8-B94C-4BD9-853A-534341527544}" presName="parentText" presStyleLbl="node1" presStyleIdx="0" presStyleCnt="3">
        <dgm:presLayoutVars>
          <dgm:chMax val="0"/>
          <dgm:bulletEnabled val="1"/>
        </dgm:presLayoutVars>
      </dgm:prSet>
      <dgm:spPr/>
      <dgm:t>
        <a:bodyPr/>
        <a:lstStyle/>
        <a:p>
          <a:endParaRPr lang="en-US"/>
        </a:p>
      </dgm:t>
    </dgm:pt>
    <dgm:pt modelId="{383217B2-55C3-4A50-A0A3-92FFDEA0ADE2}" type="pres">
      <dgm:prSet presAssocID="{B589B5D5-BC3B-4404-B998-E58B6C896F5C}" presName="spacer" presStyleCnt="0"/>
      <dgm:spPr/>
    </dgm:pt>
    <dgm:pt modelId="{D9E314A4-6812-424B-8AB3-364CFD639117}" type="pres">
      <dgm:prSet presAssocID="{662EA2CE-2942-4125-9971-92C86E1BA1DE}" presName="parentText" presStyleLbl="node1" presStyleIdx="1" presStyleCnt="3">
        <dgm:presLayoutVars>
          <dgm:chMax val="0"/>
          <dgm:bulletEnabled val="1"/>
        </dgm:presLayoutVars>
      </dgm:prSet>
      <dgm:spPr/>
      <dgm:t>
        <a:bodyPr/>
        <a:lstStyle/>
        <a:p>
          <a:endParaRPr lang="en-US"/>
        </a:p>
      </dgm:t>
    </dgm:pt>
    <dgm:pt modelId="{7052E5B6-926E-46A7-AAB3-AFFC842292D3}" type="pres">
      <dgm:prSet presAssocID="{662EA2CE-2942-4125-9971-92C86E1BA1DE}" presName="childText" presStyleLbl="revTx" presStyleIdx="0" presStyleCnt="2" custLinFactNeighborY="3584">
        <dgm:presLayoutVars>
          <dgm:bulletEnabled val="1"/>
        </dgm:presLayoutVars>
      </dgm:prSet>
      <dgm:spPr/>
      <dgm:t>
        <a:bodyPr/>
        <a:lstStyle/>
        <a:p>
          <a:endParaRPr lang="en-US"/>
        </a:p>
      </dgm:t>
    </dgm:pt>
    <dgm:pt modelId="{0B956094-1158-40F4-8A7C-7F87983C5BE4}" type="pres">
      <dgm:prSet presAssocID="{51E5C201-B68B-4AE4-B1B0-AD46CF2DB5CC}" presName="parentText" presStyleLbl="node1" presStyleIdx="2" presStyleCnt="3" custLinFactNeighborY="-38494">
        <dgm:presLayoutVars>
          <dgm:chMax val="0"/>
          <dgm:bulletEnabled val="1"/>
        </dgm:presLayoutVars>
      </dgm:prSet>
      <dgm:spPr/>
      <dgm:t>
        <a:bodyPr/>
        <a:lstStyle/>
        <a:p>
          <a:endParaRPr lang="en-US"/>
        </a:p>
      </dgm:t>
    </dgm:pt>
    <dgm:pt modelId="{58A39F69-D2EF-4C61-AF6B-DAB04120F653}" type="pres">
      <dgm:prSet presAssocID="{51E5C201-B68B-4AE4-B1B0-AD46CF2DB5CC}" presName="childText" presStyleLbl="revTx" presStyleIdx="1" presStyleCnt="2" custLinFactNeighborY="-26880">
        <dgm:presLayoutVars>
          <dgm:bulletEnabled val="1"/>
        </dgm:presLayoutVars>
      </dgm:prSet>
      <dgm:spPr/>
      <dgm:t>
        <a:bodyPr/>
        <a:lstStyle/>
        <a:p>
          <a:endParaRPr lang="en-US"/>
        </a:p>
      </dgm:t>
    </dgm:pt>
  </dgm:ptLst>
  <dgm:cxnLst>
    <dgm:cxn modelId="{1E887929-058D-4D24-A8EE-B137FFD67F91}" srcId="{51E5C201-B68B-4AE4-B1B0-AD46CF2DB5CC}" destId="{ED7438D2-4CD6-48F8-8FCB-869C20559FBE}" srcOrd="0" destOrd="0" parTransId="{DA6E3200-ADA4-4FB3-9169-782BC04BF8C5}" sibTransId="{F10658E1-54FF-4537-83B3-DB536BD794C5}"/>
    <dgm:cxn modelId="{E98A2B42-28C5-4739-B650-6D02679355B0}" type="presOf" srcId="{66D0C17F-0FDB-407A-8AD7-1211FBA7411A}" destId="{58A39F69-D2EF-4C61-AF6B-DAB04120F653}" srcOrd="0" destOrd="1" presId="urn:microsoft.com/office/officeart/2005/8/layout/vList2"/>
    <dgm:cxn modelId="{C86AE5FC-5BE6-4DC6-9DF7-CCBE5C8E0382}" srcId="{25BB20DB-4F4A-454B-8A45-3ACF48E60412}" destId="{662EA2CE-2942-4125-9971-92C86E1BA1DE}" srcOrd="1" destOrd="0" parTransId="{755B600F-044F-459A-BC6B-820E693224FA}" sibTransId="{792A2C7E-4F07-4BBD-B0E3-7A5F917331FC}"/>
    <dgm:cxn modelId="{41F5280B-A463-449D-95A6-A15469EEA16B}" type="presOf" srcId="{662EA2CE-2942-4125-9971-92C86E1BA1DE}" destId="{D9E314A4-6812-424B-8AB3-364CFD639117}" srcOrd="0" destOrd="0" presId="urn:microsoft.com/office/officeart/2005/8/layout/vList2"/>
    <dgm:cxn modelId="{5163E2F4-CD11-4916-8F38-8C33A4D87EB7}" srcId="{662EA2CE-2942-4125-9971-92C86E1BA1DE}" destId="{D73555E0-64E7-4005-95EC-418193B6C8E1}" srcOrd="0" destOrd="0" parTransId="{5ED96ECC-4DFD-4757-AECD-EC66DCAF33CE}" sibTransId="{8CFCAED0-0E37-453B-9518-67E045FD8039}"/>
    <dgm:cxn modelId="{D2D47599-4D07-4BA1-9610-52D92760F528}" type="presOf" srcId="{25BB20DB-4F4A-454B-8A45-3ACF48E60412}" destId="{86AB509A-E976-4CE7-BBDB-7FFC517C8819}" srcOrd="0" destOrd="0" presId="urn:microsoft.com/office/officeart/2005/8/layout/vList2"/>
    <dgm:cxn modelId="{EB972382-B5C2-4E87-A41B-48E6050345BE}" type="presOf" srcId="{ED7438D2-4CD6-48F8-8FCB-869C20559FBE}" destId="{58A39F69-D2EF-4C61-AF6B-DAB04120F653}" srcOrd="0" destOrd="0" presId="urn:microsoft.com/office/officeart/2005/8/layout/vList2"/>
    <dgm:cxn modelId="{128A9FA7-F00C-404E-96F5-D96280F36905}" srcId="{51E5C201-B68B-4AE4-B1B0-AD46CF2DB5CC}" destId="{66D0C17F-0FDB-407A-8AD7-1211FBA7411A}" srcOrd="1" destOrd="0" parTransId="{E7D99902-682C-4939-8877-E30FA78989D2}" sibTransId="{C5DC921E-26DD-4D00-A26A-629460529F59}"/>
    <dgm:cxn modelId="{D26CA09E-EA8A-402D-99BF-98CB86AE7061}" type="presOf" srcId="{D73555E0-64E7-4005-95EC-418193B6C8E1}" destId="{7052E5B6-926E-46A7-AAB3-AFFC842292D3}" srcOrd="0" destOrd="0" presId="urn:microsoft.com/office/officeart/2005/8/layout/vList2"/>
    <dgm:cxn modelId="{3459A6A9-4FD6-4222-8C0F-F48E5214EF13}" type="presOf" srcId="{51E5C201-B68B-4AE4-B1B0-AD46CF2DB5CC}" destId="{0B956094-1158-40F4-8A7C-7F87983C5BE4}" srcOrd="0" destOrd="0" presId="urn:microsoft.com/office/officeart/2005/8/layout/vList2"/>
    <dgm:cxn modelId="{36D79605-A2DA-4AD1-938B-ACC5CCA32547}" srcId="{25BB20DB-4F4A-454B-8A45-3ACF48E60412}" destId="{8452ACB8-B94C-4BD9-853A-534341527544}" srcOrd="0" destOrd="0" parTransId="{35409B57-223D-47AC-B489-C584147DA44E}" sibTransId="{B589B5D5-BC3B-4404-B998-E58B6C896F5C}"/>
    <dgm:cxn modelId="{BFF415F5-63F1-44E9-9E44-F9CD16858904}" srcId="{25BB20DB-4F4A-454B-8A45-3ACF48E60412}" destId="{51E5C201-B68B-4AE4-B1B0-AD46CF2DB5CC}" srcOrd="2" destOrd="0" parTransId="{249027A9-FD7D-4BF1-92D9-5D6C830A0E53}" sibTransId="{A8423DDB-28B3-4125-9768-B99C322EB84D}"/>
    <dgm:cxn modelId="{06B3A1F0-A423-41B2-9A04-DD99ECFAD24D}" type="presOf" srcId="{8452ACB8-B94C-4BD9-853A-534341527544}" destId="{C708E0DB-BDA5-4631-8378-3EDC0BD972DF}" srcOrd="0" destOrd="0" presId="urn:microsoft.com/office/officeart/2005/8/layout/vList2"/>
    <dgm:cxn modelId="{13DA9535-BF67-4287-91AE-6AA53D5F2A37}" type="presParOf" srcId="{86AB509A-E976-4CE7-BBDB-7FFC517C8819}" destId="{C708E0DB-BDA5-4631-8378-3EDC0BD972DF}" srcOrd="0" destOrd="0" presId="urn:microsoft.com/office/officeart/2005/8/layout/vList2"/>
    <dgm:cxn modelId="{FA2EC248-AEFC-4150-8BDF-AE5B9E0A4228}" type="presParOf" srcId="{86AB509A-E976-4CE7-BBDB-7FFC517C8819}" destId="{383217B2-55C3-4A50-A0A3-92FFDEA0ADE2}" srcOrd="1" destOrd="0" presId="urn:microsoft.com/office/officeart/2005/8/layout/vList2"/>
    <dgm:cxn modelId="{72188607-BD14-4AFD-A377-9AA35180C61F}" type="presParOf" srcId="{86AB509A-E976-4CE7-BBDB-7FFC517C8819}" destId="{D9E314A4-6812-424B-8AB3-364CFD639117}" srcOrd="2" destOrd="0" presId="urn:microsoft.com/office/officeart/2005/8/layout/vList2"/>
    <dgm:cxn modelId="{18C72B29-EC5C-4462-95B4-5D273903FF1D}" type="presParOf" srcId="{86AB509A-E976-4CE7-BBDB-7FFC517C8819}" destId="{7052E5B6-926E-46A7-AAB3-AFFC842292D3}" srcOrd="3" destOrd="0" presId="urn:microsoft.com/office/officeart/2005/8/layout/vList2"/>
    <dgm:cxn modelId="{4D074014-7C5E-4C21-BAFD-3438C5546E45}" type="presParOf" srcId="{86AB509A-E976-4CE7-BBDB-7FFC517C8819}" destId="{0B956094-1158-40F4-8A7C-7F87983C5BE4}" srcOrd="4" destOrd="0" presId="urn:microsoft.com/office/officeart/2005/8/layout/vList2"/>
    <dgm:cxn modelId="{48145585-0F2C-4D8C-AE82-A9F57336A380}" type="presParOf" srcId="{86AB509A-E976-4CE7-BBDB-7FFC517C8819}" destId="{58A39F69-D2EF-4C61-AF6B-DAB04120F653}"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of querying for an embedded document.</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D133B882-2B99-4292-A9D2-9A5517CEE78B}" srcId="{A75F727D-0F94-457F-B1A3-24BCC4BAD070}" destId="{2A8BDD8C-14B3-4240-BF0A-6041874F3528}" srcOrd="0" destOrd="0" parTransId="{AF913815-F032-42DE-8261-809408ACAF3A}" sibTransId="{B1939C16-12A4-4C63-ADA3-81143BB1D6D4}"/>
    <dgm:cxn modelId="{EE7E64D9-972C-43BE-A427-2206F83A6189}" type="presOf" srcId="{2A8BDD8C-14B3-4240-BF0A-6041874F3528}" destId="{01645C7E-7696-4BEF-8323-E15903EA05D1}" srcOrd="0" destOrd="0" presId="urn:microsoft.com/office/officeart/2005/8/layout/vList2"/>
    <dgm:cxn modelId="{8A387A06-023C-43D9-98F9-00DB5721AB57}" type="presOf" srcId="{A75F727D-0F94-457F-B1A3-24BCC4BAD070}" destId="{6FBAE929-7FB3-4A51-9B33-40E57CB6BA57}" srcOrd="0" destOrd="0" presId="urn:microsoft.com/office/officeart/2005/8/layout/vList2"/>
    <dgm:cxn modelId="{0A8F3268-03BA-48D1-A07C-A7F9109B3744}"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 FROM employees WHERE fnamename=‘bob’ and (age=30 or age=50 )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F9894C0-CB9D-420E-A236-4BFB8D275D2F}">
      <dgm:prSet custT="1"/>
      <dgm:spPr/>
      <dgm:t>
        <a:bodyPr/>
        <a:lstStyle/>
        <a:p>
          <a:r>
            <a:rPr lang="en-US" sz="2000" dirty="0" smtClean="0">
              <a:solidFill>
                <a:srgbClr val="000000"/>
              </a:solidFill>
            </a:rPr>
            <a:t>db.employees.find( { firstname : "bob" , $or : [ { age : 30 } , { age : 50 } ] } ) </a:t>
          </a:r>
        </a:p>
      </dgm:t>
    </dgm:pt>
    <dgm:pt modelId="{06CAAC04-6027-4D81-86EA-29427411C8BD}" type="parTrans" cxnId="{BAF92EA9-756B-46AE-8307-EAF578F8BA3D}">
      <dgm:prSet/>
      <dgm:spPr/>
      <dgm:t>
        <a:bodyPr/>
        <a:lstStyle/>
        <a:p>
          <a:endParaRPr lang="en-US" sz="2000">
            <a:solidFill>
              <a:srgbClr val="000000"/>
            </a:solidFill>
          </a:endParaRPr>
        </a:p>
      </dgm:t>
    </dgm:pt>
    <dgm:pt modelId="{C85E5350-90D0-4849-8D71-F921C1501B12}" type="sibTrans" cxnId="{BAF92EA9-756B-46AE-8307-EAF578F8BA3D}">
      <dgm:prSet/>
      <dgm:spPr/>
      <dgm:t>
        <a:bodyPr/>
        <a:lstStyle/>
        <a:p>
          <a:endParaRPr lang="en-US" sz="2000">
            <a:solidFill>
              <a:srgbClr val="000000"/>
            </a:solidFill>
          </a:endParaRPr>
        </a:p>
      </dgm:t>
    </dgm:pt>
    <dgm:pt modelId="{C1110455-6793-4383-BD63-20A135282E68}">
      <dgm:prSet custT="1"/>
      <dgm:spPr/>
      <dgm:t>
        <a:bodyPr/>
        <a:lstStyle/>
        <a:p>
          <a:r>
            <a:rPr lang="en-US" sz="2000" dirty="0" smtClean="0">
              <a:solidFill>
                <a:srgbClr val="000000"/>
              </a:solidFill>
            </a:rPr>
            <a:t>SELECT * FROM employees WHERE age&gt;33 AND age&lt;=40  </a:t>
          </a:r>
        </a:p>
      </dgm:t>
    </dgm:pt>
    <dgm:pt modelId="{4FBD9C71-7ECC-45DE-BB8D-E8A0EA36BC0C}" type="parTrans" cxnId="{D701C5A4-A9A8-4610-91AF-73D899C42BBC}">
      <dgm:prSet/>
      <dgm:spPr/>
      <dgm:t>
        <a:bodyPr/>
        <a:lstStyle/>
        <a:p>
          <a:endParaRPr lang="en-US" sz="2000">
            <a:solidFill>
              <a:srgbClr val="000000"/>
            </a:solidFill>
          </a:endParaRPr>
        </a:p>
      </dgm:t>
    </dgm:pt>
    <dgm:pt modelId="{C303C01D-DF61-4643-8B11-8352641965F7}" type="sibTrans" cxnId="{D701C5A4-A9A8-4610-91AF-73D899C42BBC}">
      <dgm:prSet/>
      <dgm:spPr/>
      <dgm:t>
        <a:bodyPr/>
        <a:lstStyle/>
        <a:p>
          <a:endParaRPr lang="en-US" sz="2000">
            <a:solidFill>
              <a:srgbClr val="000000"/>
            </a:solidFill>
          </a:endParaRPr>
        </a:p>
      </dgm:t>
    </dgm:pt>
    <dgm:pt modelId="{ED21B6F2-A7D9-4E9B-A072-C6D02032C59C}">
      <dgm:prSet custT="1"/>
      <dgm:spPr/>
      <dgm:t>
        <a:bodyPr/>
        <a:lstStyle/>
        <a:p>
          <a:r>
            <a:rPr lang="en-US" sz="2000" dirty="0" smtClean="0">
              <a:solidFill>
                <a:srgbClr val="000000"/>
              </a:solidFill>
            </a:rPr>
            <a:t>db.employees.find({“age”:{$gt:33,$lte:40}}) </a:t>
          </a:r>
        </a:p>
      </dgm:t>
    </dgm:pt>
    <dgm:pt modelId="{CC532BEB-983F-4DAC-90D0-C5AC47AB5572}" type="parTrans" cxnId="{55683453-C2B3-45CC-899D-EC26E5A6F2C3}">
      <dgm:prSet/>
      <dgm:spPr/>
      <dgm:t>
        <a:bodyPr/>
        <a:lstStyle/>
        <a:p>
          <a:endParaRPr lang="en-US" sz="2000">
            <a:solidFill>
              <a:srgbClr val="000000"/>
            </a:solidFill>
          </a:endParaRPr>
        </a:p>
      </dgm:t>
    </dgm:pt>
    <dgm:pt modelId="{74AA6EA5-06A3-4DB1-BC2C-368C2A494B5B}" type="sibTrans" cxnId="{55683453-C2B3-45CC-899D-EC26E5A6F2C3}">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30E43795-5C9A-42DF-A6D2-A8D67B737282}" type="pres">
      <dgm:prSet presAssocID="{C1110455-6793-4383-BD63-20A135282E68}" presName="parentText" presStyleLbl="node1" presStyleIdx="1" presStyleCnt="2">
        <dgm:presLayoutVars>
          <dgm:chMax val="0"/>
          <dgm:bulletEnabled val="1"/>
        </dgm:presLayoutVars>
      </dgm:prSet>
      <dgm:spPr/>
      <dgm:t>
        <a:bodyPr/>
        <a:lstStyle/>
        <a:p>
          <a:endParaRPr lang="en-US"/>
        </a:p>
      </dgm:t>
    </dgm:pt>
    <dgm:pt modelId="{7319FB97-A4B8-409E-A6B8-05659635C63B}" type="pres">
      <dgm:prSet presAssocID="{C1110455-6793-4383-BD63-20A135282E68}" presName="childText" presStyleLbl="revTx" presStyleIdx="1" presStyleCnt="2">
        <dgm:presLayoutVars>
          <dgm:bulletEnabled val="1"/>
        </dgm:presLayoutVars>
      </dgm:prSet>
      <dgm:spPr/>
      <dgm:t>
        <a:bodyPr/>
        <a:lstStyle/>
        <a:p>
          <a:endParaRPr lang="en-US"/>
        </a:p>
      </dgm:t>
    </dgm:pt>
  </dgm:ptLst>
  <dgm:cxnLst>
    <dgm:cxn modelId="{55683453-C2B3-45CC-899D-EC26E5A6F2C3}" srcId="{C1110455-6793-4383-BD63-20A135282E68}" destId="{ED21B6F2-A7D9-4E9B-A072-C6D02032C59C}" srcOrd="0" destOrd="0" parTransId="{CC532BEB-983F-4DAC-90D0-C5AC47AB5572}" sibTransId="{74AA6EA5-06A3-4DB1-BC2C-368C2A494B5B}"/>
    <dgm:cxn modelId="{5E79A291-8FCE-4BC6-8AC8-740716C91EA5}" type="presOf" srcId="{ED21B6F2-A7D9-4E9B-A072-C6D02032C59C}" destId="{7319FB97-A4B8-409E-A6B8-05659635C63B}" srcOrd="0" destOrd="0" presId="urn:microsoft.com/office/officeart/2005/8/layout/vList2"/>
    <dgm:cxn modelId="{D763B9FB-D9E9-461C-8CE2-8BAB59488226}" type="presOf" srcId="{29B1402D-A153-4C5A-BE98-8D9F1780C5D8}" destId="{EA2E1B46-256E-4363-AF1A-0C8557BCBA36}" srcOrd="0" destOrd="0" presId="urn:microsoft.com/office/officeart/2005/8/layout/vList2"/>
    <dgm:cxn modelId="{BBC4028C-2765-42A8-9D8A-00E6AF5E186E}" type="presOf" srcId="{6F9894C0-CB9D-420E-A236-4BFB8D275D2F}" destId="{D35D2B51-CDB9-456F-AB69-03B1DA780EB7}" srcOrd="0" destOrd="0" presId="urn:microsoft.com/office/officeart/2005/8/layout/vList2"/>
    <dgm:cxn modelId="{99734FC2-0CCC-4BEB-AE99-F234EC7D513E}" type="presOf" srcId="{C1110455-6793-4383-BD63-20A135282E68}" destId="{30E43795-5C9A-42DF-A6D2-A8D67B737282}" srcOrd="0" destOrd="0" presId="urn:microsoft.com/office/officeart/2005/8/layout/vList2"/>
    <dgm:cxn modelId="{D701C5A4-A9A8-4610-91AF-73D899C42BBC}" srcId="{29B1402D-A153-4C5A-BE98-8D9F1780C5D8}" destId="{C1110455-6793-4383-BD63-20A135282E68}" srcOrd="1" destOrd="0" parTransId="{4FBD9C71-7ECC-45DE-BB8D-E8A0EA36BC0C}" sibTransId="{C303C01D-DF61-4643-8B11-8352641965F7}"/>
    <dgm:cxn modelId="{BAF92EA9-756B-46AE-8307-EAF578F8BA3D}" srcId="{01B48101-CFA8-4641-83C7-B22F9ABEB30B}" destId="{6F9894C0-CB9D-420E-A236-4BFB8D275D2F}" srcOrd="0" destOrd="0" parTransId="{06CAAC04-6027-4D81-86EA-29427411C8BD}" sibTransId="{C85E5350-90D0-4849-8D71-F921C1501B12}"/>
    <dgm:cxn modelId="{7554E1FA-F074-4B8F-84DA-4CEEE42C5861}"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6859D52A-45C0-4864-B18E-03EC8E09684D}" type="presParOf" srcId="{EA2E1B46-256E-4363-AF1A-0C8557BCBA36}" destId="{A77B38D6-8EF8-4F56-B969-6807478B1038}" srcOrd="0" destOrd="0" presId="urn:microsoft.com/office/officeart/2005/8/layout/vList2"/>
    <dgm:cxn modelId="{4889A022-8791-4ED5-8900-98FD2BD45E20}" type="presParOf" srcId="{EA2E1B46-256E-4363-AF1A-0C8557BCBA36}" destId="{D35D2B51-CDB9-456F-AB69-03B1DA780EB7}" srcOrd="1" destOrd="0" presId="urn:microsoft.com/office/officeart/2005/8/layout/vList2"/>
    <dgm:cxn modelId="{A57CCA47-E353-42BD-B605-20EBEE6AFD2C}" type="presParOf" srcId="{EA2E1B46-256E-4363-AF1A-0C8557BCBA36}" destId="{30E43795-5C9A-42DF-A6D2-A8D67B737282}" srcOrd="2" destOrd="0" presId="urn:microsoft.com/office/officeart/2005/8/layout/vList2"/>
    <dgm:cxn modelId="{7D2316A2-B568-4343-A82E-00BC163B68D7}" type="presParOf" srcId="{EA2E1B46-256E-4363-AF1A-0C8557BCBA36}" destId="{7319FB97-A4B8-409E-A6B8-05659635C63B}"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All queries in MongoDB address a single Collection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DDD3E9D-68C6-44BC-A167-6B67E8BFC4E1}">
      <dgm:prSet custT="1"/>
      <dgm:spPr/>
      <dgm:t>
        <a:bodyPr/>
        <a:lstStyle/>
        <a:p>
          <a:r>
            <a:rPr lang="en-US" sz="2000" dirty="0" smtClean="0">
              <a:solidFill>
                <a:srgbClr val="000000"/>
              </a:solidFill>
            </a:rPr>
            <a:t>Modify the query to  impose limits ,skips  and sort orders</a:t>
          </a:r>
        </a:p>
      </dgm:t>
    </dgm:pt>
    <dgm:pt modelId="{9B285AE3-CB2C-466F-84C3-2E3DC60A3155}" type="parTrans" cxnId="{EE362CE4-1DBA-431F-A367-D7B34D5073F9}">
      <dgm:prSet/>
      <dgm:spPr/>
      <dgm:t>
        <a:bodyPr/>
        <a:lstStyle/>
        <a:p>
          <a:endParaRPr lang="en-US" sz="2000">
            <a:solidFill>
              <a:srgbClr val="000000"/>
            </a:solidFill>
          </a:endParaRPr>
        </a:p>
      </dgm:t>
    </dgm:pt>
    <dgm:pt modelId="{7BB28F3F-6E73-4F08-A7EC-84583EA3E93E}" type="sibTrans" cxnId="{EE362CE4-1DBA-431F-A367-D7B34D5073F9}">
      <dgm:prSet/>
      <dgm:spPr/>
      <dgm:t>
        <a:bodyPr/>
        <a:lstStyle/>
        <a:p>
          <a:endParaRPr lang="en-US" sz="2000">
            <a:solidFill>
              <a:srgbClr val="000000"/>
            </a:solidFill>
          </a:endParaRPr>
        </a:p>
      </dgm:t>
    </dgm:pt>
    <dgm:pt modelId="{80687B09-0892-4CBF-84C7-558771EDC442}">
      <dgm:prSet custT="1"/>
      <dgm:spPr/>
      <dgm:t>
        <a:bodyPr/>
        <a:lstStyle/>
        <a:p>
          <a:r>
            <a:rPr lang="en-US" sz="2000" dirty="0" smtClean="0">
              <a:solidFill>
                <a:srgbClr val="000000"/>
              </a:solidFill>
            </a:rPr>
            <a:t>The order of documents returned by a query is not defined unless you specify a sort() </a:t>
          </a:r>
        </a:p>
      </dgm:t>
    </dgm:pt>
    <dgm:pt modelId="{E99C414A-04E4-47F0-9B93-B444794541DD}" type="parTrans" cxnId="{245FCC07-79D6-46FA-A065-06A360B36D33}">
      <dgm:prSet/>
      <dgm:spPr/>
      <dgm:t>
        <a:bodyPr/>
        <a:lstStyle/>
        <a:p>
          <a:endParaRPr lang="en-US" sz="2000">
            <a:solidFill>
              <a:srgbClr val="000000"/>
            </a:solidFill>
          </a:endParaRPr>
        </a:p>
      </dgm:t>
    </dgm:pt>
    <dgm:pt modelId="{ED78DE99-1756-4C5E-9583-6DF00FE5D839}" type="sibTrans" cxnId="{245FCC07-79D6-46FA-A065-06A360B36D33}">
      <dgm:prSet/>
      <dgm:spPr/>
      <dgm:t>
        <a:bodyPr/>
        <a:lstStyle/>
        <a:p>
          <a:endParaRPr lang="en-US" sz="2000">
            <a:solidFill>
              <a:srgbClr val="000000"/>
            </a:solidFill>
          </a:endParaRPr>
        </a:p>
      </dgm:t>
    </dgm:pt>
    <dgm:pt modelId="{B6A178C9-12F2-4B63-96BE-4776856C75CC}">
      <dgm:prSet custT="1"/>
      <dgm:spPr/>
      <dgm:t>
        <a:bodyPr/>
        <a:lstStyle/>
        <a:p>
          <a:r>
            <a:rPr lang="en-US" sz="2000" dirty="0" smtClean="0">
              <a:solidFill>
                <a:srgbClr val="000000"/>
              </a:solidFill>
            </a:rPr>
            <a:t>Operations that modify existing documents (i.e. updates) use the same query syntax as queries to select documents to update </a:t>
          </a:r>
        </a:p>
      </dgm:t>
    </dgm:pt>
    <dgm:pt modelId="{99C8AD9C-723F-4954-A6AD-1F945E261B0F}" type="parTrans" cxnId="{F221481D-6B79-4716-8C90-5E6F04EBCF09}">
      <dgm:prSet/>
      <dgm:spPr/>
      <dgm:t>
        <a:bodyPr/>
        <a:lstStyle/>
        <a:p>
          <a:endParaRPr lang="en-US" sz="2000">
            <a:solidFill>
              <a:srgbClr val="000000"/>
            </a:solidFill>
          </a:endParaRPr>
        </a:p>
      </dgm:t>
    </dgm:pt>
    <dgm:pt modelId="{60E80E28-05B1-4414-98C4-36F1A45EAEA0}" type="sibTrans" cxnId="{F221481D-6B79-4716-8C90-5E6F04EBCF09}">
      <dgm:prSet/>
      <dgm:spPr/>
      <dgm:t>
        <a:bodyPr/>
        <a:lstStyle/>
        <a:p>
          <a:endParaRPr lang="en-US" sz="2000">
            <a:solidFill>
              <a:srgbClr val="000000"/>
            </a:solidFill>
          </a:endParaRPr>
        </a:p>
      </dgm:t>
    </dgm:pt>
    <dgm:pt modelId="{56E73F24-7F47-456B-AF56-21941BBA9442}">
      <dgm:prSet custT="1"/>
      <dgm:spPr/>
      <dgm:t>
        <a:bodyPr/>
        <a:lstStyle/>
        <a:p>
          <a:r>
            <a:rPr lang="en-US" sz="2000" dirty="0" smtClean="0">
              <a:solidFill>
                <a:srgbClr val="000000"/>
              </a:solidFill>
            </a:rPr>
            <a:t>In aggregation  pipeline , the $match pipeline stage provides access to MongoDB queries</a:t>
          </a:r>
        </a:p>
      </dgm:t>
    </dgm:pt>
    <dgm:pt modelId="{9B74553C-B999-49EF-A69A-3C089C669A1F}" type="parTrans" cxnId="{634F296A-14D2-4430-87DE-4FD50C62B348}">
      <dgm:prSet/>
      <dgm:spPr/>
      <dgm:t>
        <a:bodyPr/>
        <a:lstStyle/>
        <a:p>
          <a:endParaRPr lang="en-US" sz="2000">
            <a:solidFill>
              <a:srgbClr val="000000"/>
            </a:solidFill>
          </a:endParaRPr>
        </a:p>
      </dgm:t>
    </dgm:pt>
    <dgm:pt modelId="{E79A958F-73E1-4B99-A8D7-3BF6EDB22C96}" type="sibTrans" cxnId="{634F296A-14D2-4430-87DE-4FD50C62B348}">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063DFD0D-CC31-4F6A-BD8A-4916F7576731}" type="pres">
      <dgm:prSet presAssocID="{F03A470E-D788-4E8C-8198-3EC2B90C12B1}" presName="spacer" presStyleCnt="0"/>
      <dgm:spPr/>
    </dgm:pt>
    <dgm:pt modelId="{F7435433-BF1D-4A04-A683-840D07B2CA2E}" type="pres">
      <dgm:prSet presAssocID="{4DDD3E9D-68C6-44BC-A167-6B67E8BFC4E1}" presName="parentText" presStyleLbl="node1" presStyleIdx="1" presStyleCnt="5">
        <dgm:presLayoutVars>
          <dgm:chMax val="0"/>
          <dgm:bulletEnabled val="1"/>
        </dgm:presLayoutVars>
      </dgm:prSet>
      <dgm:spPr/>
      <dgm:t>
        <a:bodyPr/>
        <a:lstStyle/>
        <a:p>
          <a:endParaRPr lang="en-US"/>
        </a:p>
      </dgm:t>
    </dgm:pt>
    <dgm:pt modelId="{D3EE92E5-32AD-4E0F-A18F-FF97C49360BB}" type="pres">
      <dgm:prSet presAssocID="{7BB28F3F-6E73-4F08-A7EC-84583EA3E93E}" presName="spacer" presStyleCnt="0"/>
      <dgm:spPr/>
    </dgm:pt>
    <dgm:pt modelId="{2FA72631-E69B-4500-94C2-086667B7D641}" type="pres">
      <dgm:prSet presAssocID="{80687B09-0892-4CBF-84C7-558771EDC442}" presName="parentText" presStyleLbl="node1" presStyleIdx="2" presStyleCnt="5">
        <dgm:presLayoutVars>
          <dgm:chMax val="0"/>
          <dgm:bulletEnabled val="1"/>
        </dgm:presLayoutVars>
      </dgm:prSet>
      <dgm:spPr/>
      <dgm:t>
        <a:bodyPr/>
        <a:lstStyle/>
        <a:p>
          <a:endParaRPr lang="en-US"/>
        </a:p>
      </dgm:t>
    </dgm:pt>
    <dgm:pt modelId="{E57F46B2-A880-4AB7-9A10-C555B12E0FE9}" type="pres">
      <dgm:prSet presAssocID="{ED78DE99-1756-4C5E-9583-6DF00FE5D839}" presName="spacer" presStyleCnt="0"/>
      <dgm:spPr/>
    </dgm:pt>
    <dgm:pt modelId="{08893B36-BB4B-4652-BBDC-21E246C43F7D}" type="pres">
      <dgm:prSet presAssocID="{B6A178C9-12F2-4B63-96BE-4776856C75CC}" presName="parentText" presStyleLbl="node1" presStyleIdx="3" presStyleCnt="5">
        <dgm:presLayoutVars>
          <dgm:chMax val="0"/>
          <dgm:bulletEnabled val="1"/>
        </dgm:presLayoutVars>
      </dgm:prSet>
      <dgm:spPr/>
      <dgm:t>
        <a:bodyPr/>
        <a:lstStyle/>
        <a:p>
          <a:endParaRPr lang="en-US"/>
        </a:p>
      </dgm:t>
    </dgm:pt>
    <dgm:pt modelId="{1CAB81EF-F420-48B5-9C94-3795D060AE25}" type="pres">
      <dgm:prSet presAssocID="{60E80E28-05B1-4414-98C4-36F1A45EAEA0}" presName="spacer" presStyleCnt="0"/>
      <dgm:spPr/>
    </dgm:pt>
    <dgm:pt modelId="{1141FC7B-6105-4B7F-A53A-3C7193F17EAD}" type="pres">
      <dgm:prSet presAssocID="{56E73F24-7F47-456B-AF56-21941BBA9442}" presName="parentText" presStyleLbl="node1" presStyleIdx="4" presStyleCnt="5">
        <dgm:presLayoutVars>
          <dgm:chMax val="0"/>
          <dgm:bulletEnabled val="1"/>
        </dgm:presLayoutVars>
      </dgm:prSet>
      <dgm:spPr/>
      <dgm:t>
        <a:bodyPr/>
        <a:lstStyle/>
        <a:p>
          <a:endParaRPr lang="en-US"/>
        </a:p>
      </dgm:t>
    </dgm:pt>
  </dgm:ptLst>
  <dgm:cxnLst>
    <dgm:cxn modelId="{5633E756-A28D-4630-9373-7EB0B621B7ED}" type="presOf" srcId="{56E73F24-7F47-456B-AF56-21941BBA9442}" destId="{1141FC7B-6105-4B7F-A53A-3C7193F17EAD}" srcOrd="0" destOrd="0" presId="urn:microsoft.com/office/officeart/2005/8/layout/vList2"/>
    <dgm:cxn modelId="{EE362CE4-1DBA-431F-A367-D7B34D5073F9}" srcId="{29B1402D-A153-4C5A-BE98-8D9F1780C5D8}" destId="{4DDD3E9D-68C6-44BC-A167-6B67E8BFC4E1}" srcOrd="1" destOrd="0" parTransId="{9B285AE3-CB2C-466F-84C3-2E3DC60A3155}" sibTransId="{7BB28F3F-6E73-4F08-A7EC-84583EA3E93E}"/>
    <dgm:cxn modelId="{2F62169E-4160-4BA9-B450-796DD123F70B}" type="presOf" srcId="{4DDD3E9D-68C6-44BC-A167-6B67E8BFC4E1}" destId="{F7435433-BF1D-4A04-A683-840D07B2CA2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A7B093A3-1BBF-491D-B731-D35355B30AF3}" type="presOf" srcId="{01B48101-CFA8-4641-83C7-B22F9ABEB30B}" destId="{A77B38D6-8EF8-4F56-B969-6807478B1038}" srcOrd="0" destOrd="0" presId="urn:microsoft.com/office/officeart/2005/8/layout/vList2"/>
    <dgm:cxn modelId="{F8640E7A-274A-4084-8C27-C822CD59719B}" type="presOf" srcId="{80687B09-0892-4CBF-84C7-558771EDC442}" destId="{2FA72631-E69B-4500-94C2-086667B7D641}" srcOrd="0" destOrd="0" presId="urn:microsoft.com/office/officeart/2005/8/layout/vList2"/>
    <dgm:cxn modelId="{F221481D-6B79-4716-8C90-5E6F04EBCF09}" srcId="{29B1402D-A153-4C5A-BE98-8D9F1780C5D8}" destId="{B6A178C9-12F2-4B63-96BE-4776856C75CC}" srcOrd="3" destOrd="0" parTransId="{99C8AD9C-723F-4954-A6AD-1F945E261B0F}" sibTransId="{60E80E28-05B1-4414-98C4-36F1A45EAEA0}"/>
    <dgm:cxn modelId="{634F296A-14D2-4430-87DE-4FD50C62B348}" srcId="{29B1402D-A153-4C5A-BE98-8D9F1780C5D8}" destId="{56E73F24-7F47-456B-AF56-21941BBA9442}" srcOrd="4" destOrd="0" parTransId="{9B74553C-B999-49EF-A69A-3C089C669A1F}" sibTransId="{E79A958F-73E1-4B99-A8D7-3BF6EDB22C96}"/>
    <dgm:cxn modelId="{245FCC07-79D6-46FA-A065-06A360B36D33}" srcId="{29B1402D-A153-4C5A-BE98-8D9F1780C5D8}" destId="{80687B09-0892-4CBF-84C7-558771EDC442}" srcOrd="2" destOrd="0" parTransId="{E99C414A-04E4-47F0-9B93-B444794541DD}" sibTransId="{ED78DE99-1756-4C5E-9583-6DF00FE5D839}"/>
    <dgm:cxn modelId="{CB8593AF-EDA0-46F8-8C31-3BE462225997}" type="presOf" srcId="{B6A178C9-12F2-4B63-96BE-4776856C75CC}" destId="{08893B36-BB4B-4652-BBDC-21E246C43F7D}" srcOrd="0" destOrd="0" presId="urn:microsoft.com/office/officeart/2005/8/layout/vList2"/>
    <dgm:cxn modelId="{BD99AD79-E2E9-447A-AFCC-7340F9B977FC}" type="presOf" srcId="{29B1402D-A153-4C5A-BE98-8D9F1780C5D8}" destId="{EA2E1B46-256E-4363-AF1A-0C8557BCBA36}" srcOrd="0" destOrd="0" presId="urn:microsoft.com/office/officeart/2005/8/layout/vList2"/>
    <dgm:cxn modelId="{1BCE9CA1-B134-4168-A155-691496469CEF}" type="presParOf" srcId="{EA2E1B46-256E-4363-AF1A-0C8557BCBA36}" destId="{A77B38D6-8EF8-4F56-B969-6807478B1038}" srcOrd="0" destOrd="0" presId="urn:microsoft.com/office/officeart/2005/8/layout/vList2"/>
    <dgm:cxn modelId="{B69735C0-050B-4DC4-A8F0-ECE9B892672A}" type="presParOf" srcId="{EA2E1B46-256E-4363-AF1A-0C8557BCBA36}" destId="{063DFD0D-CC31-4F6A-BD8A-4916F7576731}" srcOrd="1" destOrd="0" presId="urn:microsoft.com/office/officeart/2005/8/layout/vList2"/>
    <dgm:cxn modelId="{7A26B6D3-B862-4020-B4CC-3C82D02555E3}" type="presParOf" srcId="{EA2E1B46-256E-4363-AF1A-0C8557BCBA36}" destId="{F7435433-BF1D-4A04-A683-840D07B2CA2E}" srcOrd="2" destOrd="0" presId="urn:microsoft.com/office/officeart/2005/8/layout/vList2"/>
    <dgm:cxn modelId="{2810C6B6-0A4A-4EA3-BBD0-68186094971A}" type="presParOf" srcId="{EA2E1B46-256E-4363-AF1A-0C8557BCBA36}" destId="{D3EE92E5-32AD-4E0F-A18F-FF97C49360BB}" srcOrd="3" destOrd="0" presId="urn:microsoft.com/office/officeart/2005/8/layout/vList2"/>
    <dgm:cxn modelId="{80C5B927-5434-4F48-9883-7E87BB780A78}" type="presParOf" srcId="{EA2E1B46-256E-4363-AF1A-0C8557BCBA36}" destId="{2FA72631-E69B-4500-94C2-086667B7D641}" srcOrd="4" destOrd="0" presId="urn:microsoft.com/office/officeart/2005/8/layout/vList2"/>
    <dgm:cxn modelId="{88D1ADC0-6DF6-45EB-97FA-E72C4C89FA9D}" type="presParOf" srcId="{EA2E1B46-256E-4363-AF1A-0C8557BCBA36}" destId="{E57F46B2-A880-4AB7-9A10-C555B12E0FE9}" srcOrd="5" destOrd="0" presId="urn:microsoft.com/office/officeart/2005/8/layout/vList2"/>
    <dgm:cxn modelId="{09FA0ACD-F551-4236-BBEA-1FAF945608A9}" type="presParOf" srcId="{EA2E1B46-256E-4363-AF1A-0C8557BCBA36}" destId="{08893B36-BB4B-4652-BBDC-21E246C43F7D}" srcOrd="6" destOrd="0" presId="urn:microsoft.com/office/officeart/2005/8/layout/vList2"/>
    <dgm:cxn modelId="{303C632A-7FB5-45DA-92F6-456870F19A6D}" type="presParOf" srcId="{EA2E1B46-256E-4363-AF1A-0C8557BCBA36}" destId="{1CAB81EF-F420-48B5-9C94-3795D060AE25}" srcOrd="7" destOrd="0" presId="urn:microsoft.com/office/officeart/2005/8/layout/vList2"/>
    <dgm:cxn modelId="{AEDBFF14-CD4E-4230-A7BB-35C00A48C7C5}" type="presParOf" srcId="{EA2E1B46-256E-4363-AF1A-0C8557BCBA36}" destId="{1141FC7B-6105-4B7F-A53A-3C7193F17EAD}"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sort documents in MongoDB, you need to use </a:t>
          </a:r>
          <a:r>
            <a:rPr lang="en-US" sz="2000" b="1" dirty="0" smtClean="0">
              <a:solidFill>
                <a:srgbClr val="000000"/>
              </a:solidFill>
            </a:rPr>
            <a:t>sort()</a:t>
          </a:r>
          <a:r>
            <a:rPr lang="en-US" sz="2000" dirty="0" smtClean="0">
              <a:solidFill>
                <a:srgbClr val="000000"/>
              </a:solidFill>
            </a:rPr>
            <a:t> method. </a:t>
          </a:r>
          <a:r>
            <a:rPr lang="en-US" sz="2000" b="1" dirty="0" smtClean="0">
              <a:solidFill>
                <a:srgbClr val="000000"/>
              </a:solidFill>
            </a:rPr>
            <a:t>sort()</a:t>
          </a:r>
          <a:r>
            <a:rPr lang="en-US" sz="2000" dirty="0" smtClean="0">
              <a:solidFill>
                <a:srgbClr val="000000"/>
              </a:solidFill>
            </a:rPr>
            <a:t> method accepts a document containing list of fields along with their sorting order. To specify sorting order 1 and -1 are used. 1 is used for ascending order while -1 is used for descending order</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29AFDDCE-BA69-45D0-8C44-1F9F8EB0E2A3}">
      <dgm:prSet custT="1"/>
      <dgm:spPr/>
      <dgm:t>
        <a:bodyPr/>
        <a:lstStyle/>
        <a:p>
          <a:r>
            <a:rPr lang="en-US" sz="2000" dirty="0" smtClean="0"/>
            <a:t>db.employees.find().sort({lastname:-1})</a:t>
          </a:r>
          <a:endParaRPr lang="en-US" sz="2000" dirty="0" smtClean="0">
            <a:solidFill>
              <a:srgbClr val="000000"/>
            </a:solidFill>
          </a:endParaRPr>
        </a:p>
      </dgm:t>
    </dgm:pt>
    <dgm:pt modelId="{DEEB2D8E-50C3-4602-BF0B-0D352BD87C23}" type="parTrans" cxnId="{688D2E29-180E-44A9-B739-6A2EBB32EA6E}">
      <dgm:prSet/>
      <dgm:spPr/>
      <dgm:t>
        <a:bodyPr/>
        <a:lstStyle/>
        <a:p>
          <a:endParaRPr lang="en-US" sz="2000">
            <a:solidFill>
              <a:srgbClr val="000000"/>
            </a:solidFill>
          </a:endParaRPr>
        </a:p>
      </dgm:t>
    </dgm:pt>
    <dgm:pt modelId="{8BD84820-F673-4B6C-95B2-AE5987C58E02}" type="sibTrans" cxnId="{688D2E29-180E-44A9-B739-6A2EBB32EA6E}">
      <dgm:prSet/>
      <dgm:spPr/>
      <dgm:t>
        <a:bodyPr/>
        <a:lstStyle/>
        <a:p>
          <a:endParaRPr lang="en-US" sz="2000">
            <a:solidFill>
              <a:srgbClr val="000000"/>
            </a:solidFill>
          </a:endParaRPr>
        </a:p>
      </dgm:t>
    </dgm:pt>
    <dgm:pt modelId="{59FB2B86-3D69-4AB4-A43F-8708222B8645}">
      <dgm:prSet/>
      <dgm:spPr/>
      <dgm:t>
        <a:bodyPr/>
        <a:lstStyle/>
        <a:p>
          <a:r>
            <a:rPr lang="en-US" dirty="0" smtClean="0"/>
            <a:t>OR</a:t>
          </a:r>
        </a:p>
      </dgm:t>
    </dgm:pt>
    <dgm:pt modelId="{5FD21408-7082-4BCE-813E-7433AB9542C9}" type="parTrans" cxnId="{9511DA97-C708-4FBA-A829-B054E2C441EE}">
      <dgm:prSet/>
      <dgm:spPr/>
      <dgm:t>
        <a:bodyPr/>
        <a:lstStyle/>
        <a:p>
          <a:endParaRPr lang="en-US"/>
        </a:p>
      </dgm:t>
    </dgm:pt>
    <dgm:pt modelId="{B4E4EC03-D0E2-4E35-9F52-383E43995BBC}" type="sibTrans" cxnId="{9511DA97-C708-4FBA-A829-B054E2C441EE}">
      <dgm:prSet/>
      <dgm:spPr/>
      <dgm:t>
        <a:bodyPr/>
        <a:lstStyle/>
        <a:p>
          <a:endParaRPr lang="en-US"/>
        </a:p>
      </dgm:t>
    </dgm:pt>
    <dgm:pt modelId="{97CF3334-63E8-4B87-ADFE-57A85A15F571}">
      <dgm:prSet/>
      <dgm:spPr/>
      <dgm:t>
        <a:bodyPr/>
        <a:lstStyle/>
        <a:p>
          <a:r>
            <a:rPr lang="en-US" dirty="0" smtClean="0"/>
            <a:t>db.employees.find().sort({lastname:1})</a:t>
          </a:r>
        </a:p>
      </dgm:t>
    </dgm:pt>
    <dgm:pt modelId="{D029DE9B-09C0-4F63-98AA-00111D8163D6}" type="parTrans" cxnId="{84E1FC77-D490-4E9A-99D4-45C3CF4F3C32}">
      <dgm:prSet/>
      <dgm:spPr/>
      <dgm:t>
        <a:bodyPr/>
        <a:lstStyle/>
        <a:p>
          <a:endParaRPr lang="en-US"/>
        </a:p>
      </dgm:t>
    </dgm:pt>
    <dgm:pt modelId="{3807F38D-FEB0-40C0-801E-E6A77CFD6770}" type="sibTrans" cxnId="{84E1FC77-D490-4E9A-99D4-45C3CF4F3C32}">
      <dgm:prSet/>
      <dgm:spPr/>
      <dgm:t>
        <a:bodyPr/>
        <a:lstStyle/>
        <a:p>
          <a:endParaRPr lang="en-US"/>
        </a:p>
      </dgm:t>
    </dgm:pt>
    <dgm:pt modelId="{4679078F-519D-4625-896A-E4C89563B299}">
      <dgm:prSet/>
      <dgm:spPr/>
      <dgm:t>
        <a:bodyPr/>
        <a:lstStyle/>
        <a:p>
          <a:r>
            <a:rPr lang="en-US" dirty="0" smtClean="0"/>
            <a:t>OR</a:t>
          </a:r>
        </a:p>
      </dgm:t>
    </dgm:pt>
    <dgm:pt modelId="{F9AC75EA-EAAD-4858-BBC3-A7D115C8391A}" type="parTrans" cxnId="{9107EAA1-1249-4D4A-B125-920B799DEF41}">
      <dgm:prSet/>
      <dgm:spPr/>
      <dgm:t>
        <a:bodyPr/>
        <a:lstStyle/>
        <a:p>
          <a:endParaRPr lang="en-US"/>
        </a:p>
      </dgm:t>
    </dgm:pt>
    <dgm:pt modelId="{2490854B-221D-4174-9D2E-DF9AC7D7CCD2}" type="sibTrans" cxnId="{9107EAA1-1249-4D4A-B125-920B799DEF41}">
      <dgm:prSet/>
      <dgm:spPr/>
      <dgm:t>
        <a:bodyPr/>
        <a:lstStyle/>
        <a:p>
          <a:endParaRPr lang="en-US"/>
        </a:p>
      </dgm:t>
    </dgm:pt>
    <dgm:pt modelId="{30E5ED8E-0E2B-4C1B-9DBC-576A11FD6043}">
      <dgm:prSet/>
      <dgm:spPr/>
      <dgm:t>
        <a:bodyPr/>
        <a:lstStyle/>
        <a:p>
          <a:r>
            <a:rPr lang="en-US" dirty="0" smtClean="0"/>
            <a:t>db.employees.find().sort({lastname:-1}).pretty()</a:t>
          </a:r>
          <a:endParaRPr lang="en-US" dirty="0"/>
        </a:p>
      </dgm:t>
    </dgm:pt>
    <dgm:pt modelId="{2E070352-307C-47AE-9B2F-9FA9D87FE316}" type="parTrans" cxnId="{619E6585-56F1-4EF4-B2A7-8538C9CD70B0}">
      <dgm:prSet/>
      <dgm:spPr/>
      <dgm:t>
        <a:bodyPr/>
        <a:lstStyle/>
        <a:p>
          <a:endParaRPr lang="en-US"/>
        </a:p>
      </dgm:t>
    </dgm:pt>
    <dgm:pt modelId="{2913A87E-DDCC-4F4C-9B57-1B25A6372D47}" type="sibTrans" cxnId="{619E6585-56F1-4EF4-B2A7-8538C9CD70B0}">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custScaleY="110198" custLinFactNeighborX="439" custLinFactNeighborY="-81410">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custScaleY="143199" custLinFactNeighborX="1006" custLinFactNeighborY="-2351">
        <dgm:presLayoutVars>
          <dgm:bulletEnabled val="1"/>
        </dgm:presLayoutVars>
      </dgm:prSet>
      <dgm:spPr/>
      <dgm:t>
        <a:bodyPr/>
        <a:lstStyle/>
        <a:p>
          <a:endParaRPr lang="en-US"/>
        </a:p>
      </dgm:t>
    </dgm:pt>
  </dgm:ptLst>
  <dgm:cxnLst>
    <dgm:cxn modelId="{9511DA97-C708-4FBA-A829-B054E2C441EE}" srcId="{29AFDDCE-BA69-45D0-8C44-1F9F8EB0E2A3}" destId="{59FB2B86-3D69-4AB4-A43F-8708222B8645}" srcOrd="0" destOrd="0" parTransId="{5FD21408-7082-4BCE-813E-7433AB9542C9}" sibTransId="{B4E4EC03-D0E2-4E35-9F52-383E43995BBC}"/>
    <dgm:cxn modelId="{FAF370A2-0C41-4B18-9526-CB35D011F1ED}" type="presOf" srcId="{29B1402D-A153-4C5A-BE98-8D9F1780C5D8}" destId="{EA2E1B46-256E-4363-AF1A-0C8557BCBA36}" srcOrd="0" destOrd="0" presId="urn:microsoft.com/office/officeart/2005/8/layout/vList2"/>
    <dgm:cxn modelId="{9107EAA1-1249-4D4A-B125-920B799DEF41}" srcId="{97CF3334-63E8-4B87-ADFE-57A85A15F571}" destId="{4679078F-519D-4625-896A-E4C89563B299}" srcOrd="0" destOrd="0" parTransId="{F9AC75EA-EAAD-4858-BBC3-A7D115C8391A}" sibTransId="{2490854B-221D-4174-9D2E-DF9AC7D7CCD2}"/>
    <dgm:cxn modelId="{EF6E87E5-4F78-4308-A8C7-2E04C39DC36B}" type="presOf" srcId="{01B48101-CFA8-4641-83C7-B22F9ABEB30B}" destId="{A77B38D6-8EF8-4F56-B969-6807478B1038}" srcOrd="0" destOrd="0" presId="urn:microsoft.com/office/officeart/2005/8/layout/vList2"/>
    <dgm:cxn modelId="{619E6585-56F1-4EF4-B2A7-8538C9CD70B0}" srcId="{29AFDDCE-BA69-45D0-8C44-1F9F8EB0E2A3}" destId="{30E5ED8E-0E2B-4C1B-9DBC-576A11FD6043}" srcOrd="2" destOrd="0" parTransId="{2E070352-307C-47AE-9B2F-9FA9D87FE316}" sibTransId="{2913A87E-DDCC-4F4C-9B57-1B25A6372D47}"/>
    <dgm:cxn modelId="{AB6EBE2E-CD88-48F9-B236-1FF538B0EC02}" type="presOf" srcId="{30E5ED8E-0E2B-4C1B-9DBC-576A11FD6043}" destId="{D35D2B51-CDB9-456F-AB69-03B1DA780EB7}" srcOrd="0" destOrd="4" presId="urn:microsoft.com/office/officeart/2005/8/layout/vList2"/>
    <dgm:cxn modelId="{F2B48273-CBFA-4EC0-947C-1D3013B838F4}" type="presOf" srcId="{29AFDDCE-BA69-45D0-8C44-1F9F8EB0E2A3}" destId="{D35D2B51-CDB9-456F-AB69-03B1DA780EB7}" srcOrd="0" destOrd="0" presId="urn:microsoft.com/office/officeart/2005/8/layout/vList2"/>
    <dgm:cxn modelId="{84E1FC77-D490-4E9A-99D4-45C3CF4F3C32}" srcId="{29AFDDCE-BA69-45D0-8C44-1F9F8EB0E2A3}" destId="{97CF3334-63E8-4B87-ADFE-57A85A15F571}" srcOrd="1" destOrd="0" parTransId="{D029DE9B-09C0-4F63-98AA-00111D8163D6}" sibTransId="{3807F38D-FEB0-40C0-801E-E6A77CFD6770}"/>
    <dgm:cxn modelId="{71D919CC-A212-4F2D-BF98-8A58E0B85E16}" type="presOf" srcId="{97CF3334-63E8-4B87-ADFE-57A85A15F571}" destId="{D35D2B51-CDB9-456F-AB69-03B1DA780EB7}" srcOrd="0" destOrd="2" presId="urn:microsoft.com/office/officeart/2005/8/layout/vList2"/>
    <dgm:cxn modelId="{688D2E29-180E-44A9-B739-6A2EBB32EA6E}" srcId="{01B48101-CFA8-4641-83C7-B22F9ABEB30B}" destId="{29AFDDCE-BA69-45D0-8C44-1F9F8EB0E2A3}" srcOrd="0" destOrd="0" parTransId="{DEEB2D8E-50C3-4602-BF0B-0D352BD87C23}" sibTransId="{8BD84820-F673-4B6C-95B2-AE5987C58E02}"/>
    <dgm:cxn modelId="{7D6E3BE8-AE7F-4EBF-B5E1-3A9084956C2B}" type="presOf" srcId="{59FB2B86-3D69-4AB4-A43F-8708222B8645}" destId="{D35D2B51-CDB9-456F-AB69-03B1DA780EB7}" srcOrd="0" destOrd="1" presId="urn:microsoft.com/office/officeart/2005/8/layout/vList2"/>
    <dgm:cxn modelId="{E61FD526-8D68-4CF4-AB4A-1A76C6994177}" type="presOf" srcId="{4679078F-519D-4625-896A-E4C89563B299}" destId="{D35D2B51-CDB9-456F-AB69-03B1DA780EB7}" srcOrd="0" destOrd="3"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1AC19543-CD6A-470B-BB58-434362859886}" type="presParOf" srcId="{EA2E1B46-256E-4363-AF1A-0C8557BCBA36}" destId="{A77B38D6-8EF8-4F56-B969-6807478B1038}" srcOrd="0" destOrd="0" presId="urn:microsoft.com/office/officeart/2005/8/layout/vList2"/>
    <dgm:cxn modelId="{0F3B9E51-482A-4EA5-B95E-0A3C7B1EA689}"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he database returns results from find using a cursor.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7F130B8-304E-4937-8725-59F1F31D8F6D}">
      <dgm:prSet phldrT="[Text]" custT="1"/>
      <dgm:spPr/>
      <dgm:t>
        <a:bodyPr/>
        <a:lstStyle/>
        <a:p>
          <a:r>
            <a:rPr lang="en-US" sz="2000" dirty="0" smtClean="0">
              <a:solidFill>
                <a:srgbClr val="000000"/>
              </a:solidFill>
            </a:rPr>
            <a:t>If we do not store the results in a variable, the MongoDB shell will automatically iterate through and display the first couple of documents. </a:t>
          </a:r>
          <a:endParaRPr lang="en-US" sz="2000" dirty="0">
            <a:solidFill>
              <a:srgbClr val="000000"/>
            </a:solidFill>
          </a:endParaRPr>
        </a:p>
      </dgm:t>
    </dgm:pt>
    <dgm:pt modelId="{F8750268-C319-40C5-B2D7-FED50C07E5F6}" type="parTrans" cxnId="{F4A7E941-605E-4A60-93D0-DAA5FAF14A8D}">
      <dgm:prSet/>
      <dgm:spPr/>
      <dgm:t>
        <a:bodyPr/>
        <a:lstStyle/>
        <a:p>
          <a:endParaRPr lang="en-US" sz="2000">
            <a:solidFill>
              <a:srgbClr val="000000"/>
            </a:solidFill>
          </a:endParaRPr>
        </a:p>
      </dgm:t>
    </dgm:pt>
    <dgm:pt modelId="{586B07F3-AC34-40D1-A997-8C31F10D8AAE}" type="sibTrans" cxnId="{F4A7E941-605E-4A60-93D0-DAA5FAF14A8D}">
      <dgm:prSet/>
      <dgm:spPr/>
      <dgm:t>
        <a:bodyPr/>
        <a:lstStyle/>
        <a:p>
          <a:endParaRPr lang="en-US" sz="2000">
            <a:solidFill>
              <a:srgbClr val="000000"/>
            </a:solidFill>
          </a:endParaRPr>
        </a:p>
      </dgm:t>
    </dgm:pt>
    <dgm:pt modelId="{7B525D17-DA03-4845-8BB6-A362D6E3B9A8}">
      <dgm:prSet phldrT="[Text]" custT="1"/>
      <dgm:spPr/>
      <dgm:t>
        <a:bodyPr/>
        <a:lstStyle/>
        <a:p>
          <a:r>
            <a:rPr lang="en-US" sz="2000" dirty="0" smtClean="0">
              <a:solidFill>
                <a:srgbClr val="000000"/>
              </a:solidFill>
            </a:rPr>
            <a:t>When you call find, the shell does not query the database immediately. </a:t>
          </a:r>
          <a:endParaRPr lang="en-US" sz="2000" dirty="0">
            <a:solidFill>
              <a:srgbClr val="000000"/>
            </a:solidFill>
          </a:endParaRPr>
        </a:p>
      </dgm:t>
    </dgm:pt>
    <dgm:pt modelId="{D98664A8-52CD-4FF9-AC39-9C849F6FF1B6}" type="parTrans" cxnId="{259D28DF-FE90-4437-BB89-9D316F19CCD1}">
      <dgm:prSet/>
      <dgm:spPr/>
      <dgm:t>
        <a:bodyPr/>
        <a:lstStyle/>
        <a:p>
          <a:endParaRPr lang="en-US" sz="2000">
            <a:solidFill>
              <a:srgbClr val="000000"/>
            </a:solidFill>
          </a:endParaRPr>
        </a:p>
      </dgm:t>
    </dgm:pt>
    <dgm:pt modelId="{C3FED653-9A51-44C9-BFBE-61BB79782EBC}" type="sibTrans" cxnId="{259D28DF-FE90-4437-BB89-9D316F19CCD1}">
      <dgm:prSet/>
      <dgm:spPr/>
      <dgm:t>
        <a:bodyPr/>
        <a:lstStyle/>
        <a:p>
          <a:endParaRPr lang="en-US" sz="2000">
            <a:solidFill>
              <a:srgbClr val="000000"/>
            </a:solidFill>
          </a:endParaRPr>
        </a:p>
      </dgm:t>
    </dgm:pt>
    <dgm:pt modelId="{A65C918B-0E43-4A23-B55C-CB4EB5CF89AE}">
      <dgm:prSet phldrT="[Text]" custT="1"/>
      <dgm:spPr/>
      <dgm:t>
        <a:bodyPr/>
        <a:lstStyle/>
        <a:p>
          <a:r>
            <a:rPr lang="en-US" sz="2000" dirty="0" smtClean="0">
              <a:solidFill>
                <a:srgbClr val="000000"/>
              </a:solidFill>
            </a:rPr>
            <a:t>It waits until you actually start requesting results to send the query, which allows you to chain additional options onto a query before it is performed. </a:t>
          </a:r>
          <a:endParaRPr lang="en-US" sz="2000" dirty="0">
            <a:solidFill>
              <a:srgbClr val="000000"/>
            </a:solidFill>
          </a:endParaRPr>
        </a:p>
      </dgm:t>
    </dgm:pt>
    <dgm:pt modelId="{7E3763AA-F510-41E5-8272-E9CEF0F3DAC2}" type="parTrans" cxnId="{3B2C89C9-AD81-484B-88C3-4D8BEFAB755F}">
      <dgm:prSet/>
      <dgm:spPr/>
      <dgm:t>
        <a:bodyPr/>
        <a:lstStyle/>
        <a:p>
          <a:endParaRPr lang="en-US" sz="2000">
            <a:solidFill>
              <a:srgbClr val="000000"/>
            </a:solidFill>
          </a:endParaRPr>
        </a:p>
      </dgm:t>
    </dgm:pt>
    <dgm:pt modelId="{58E3E9F9-8AC6-492A-B6ED-16AE96442283}" type="sibTrans" cxnId="{3B2C89C9-AD81-484B-88C3-4D8BEFAB755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0F2DB7DD-4120-4035-9F85-5EA591086E61}" type="pres">
      <dgm:prSet presAssocID="{F03A470E-D788-4E8C-8198-3EC2B90C12B1}" presName="spacer" presStyleCnt="0"/>
      <dgm:spPr/>
    </dgm:pt>
    <dgm:pt modelId="{59E48C42-8BAB-4860-A325-6004150CCBB2}" type="pres">
      <dgm:prSet presAssocID="{B7F130B8-304E-4937-8725-59F1F31D8F6D}" presName="parentText" presStyleLbl="node1" presStyleIdx="1" presStyleCnt="4">
        <dgm:presLayoutVars>
          <dgm:chMax val="0"/>
          <dgm:bulletEnabled val="1"/>
        </dgm:presLayoutVars>
      </dgm:prSet>
      <dgm:spPr/>
      <dgm:t>
        <a:bodyPr/>
        <a:lstStyle/>
        <a:p>
          <a:endParaRPr lang="en-US"/>
        </a:p>
      </dgm:t>
    </dgm:pt>
    <dgm:pt modelId="{906F8408-176C-4BD8-9D58-C6E3F2BA6703}" type="pres">
      <dgm:prSet presAssocID="{586B07F3-AC34-40D1-A997-8C31F10D8AAE}" presName="spacer" presStyleCnt="0"/>
      <dgm:spPr/>
    </dgm:pt>
    <dgm:pt modelId="{9E3F87FB-78B5-421E-A49D-142A0D1B545B}" type="pres">
      <dgm:prSet presAssocID="{7B525D17-DA03-4845-8BB6-A362D6E3B9A8}" presName="parentText" presStyleLbl="node1" presStyleIdx="2" presStyleCnt="4">
        <dgm:presLayoutVars>
          <dgm:chMax val="0"/>
          <dgm:bulletEnabled val="1"/>
        </dgm:presLayoutVars>
      </dgm:prSet>
      <dgm:spPr/>
      <dgm:t>
        <a:bodyPr/>
        <a:lstStyle/>
        <a:p>
          <a:endParaRPr lang="en-US"/>
        </a:p>
      </dgm:t>
    </dgm:pt>
    <dgm:pt modelId="{FF82868B-7D84-4721-BE9E-774FA3FAD015}" type="pres">
      <dgm:prSet presAssocID="{C3FED653-9A51-44C9-BFBE-61BB79782EBC}" presName="spacer" presStyleCnt="0"/>
      <dgm:spPr/>
    </dgm:pt>
    <dgm:pt modelId="{AA8668AE-76C2-49F7-AB36-91AE8B3B397E}" type="pres">
      <dgm:prSet presAssocID="{A65C918B-0E43-4A23-B55C-CB4EB5CF89AE}" presName="parentText" presStyleLbl="node1" presStyleIdx="3" presStyleCnt="4">
        <dgm:presLayoutVars>
          <dgm:chMax val="0"/>
          <dgm:bulletEnabled val="1"/>
        </dgm:presLayoutVars>
      </dgm:prSet>
      <dgm:spPr/>
      <dgm:t>
        <a:bodyPr/>
        <a:lstStyle/>
        <a:p>
          <a:endParaRPr lang="en-US"/>
        </a:p>
      </dgm:t>
    </dgm:pt>
  </dgm:ptLst>
  <dgm:cxnLst>
    <dgm:cxn modelId="{F4A7E941-605E-4A60-93D0-DAA5FAF14A8D}" srcId="{29B1402D-A153-4C5A-BE98-8D9F1780C5D8}" destId="{B7F130B8-304E-4937-8725-59F1F31D8F6D}" srcOrd="1" destOrd="0" parTransId="{F8750268-C319-40C5-B2D7-FED50C07E5F6}" sibTransId="{586B07F3-AC34-40D1-A997-8C31F10D8AAE}"/>
    <dgm:cxn modelId="{9995ADB5-3100-45DA-A419-E18DD47B7446}" type="presOf" srcId="{01B48101-CFA8-4641-83C7-B22F9ABEB30B}" destId="{A77B38D6-8EF8-4F56-B969-6807478B1038}" srcOrd="0" destOrd="0" presId="urn:microsoft.com/office/officeart/2005/8/layout/vList2"/>
    <dgm:cxn modelId="{B2E3D1CD-5F05-454C-9F8D-3DBDF813EF89}" type="presOf" srcId="{B7F130B8-304E-4937-8725-59F1F31D8F6D}" destId="{59E48C42-8BAB-4860-A325-6004150CCBB2}" srcOrd="0" destOrd="0" presId="urn:microsoft.com/office/officeart/2005/8/layout/vList2"/>
    <dgm:cxn modelId="{3427A5F5-5B90-4C1B-BF28-5F7FC731DAFB}" type="presOf" srcId="{A65C918B-0E43-4A23-B55C-CB4EB5CF89AE}" destId="{AA8668AE-76C2-49F7-AB36-91AE8B3B397E}" srcOrd="0" destOrd="0" presId="urn:microsoft.com/office/officeart/2005/8/layout/vList2"/>
    <dgm:cxn modelId="{F2E083CD-B976-445C-916B-6F878EDA0CD7}" type="presOf" srcId="{7B525D17-DA03-4845-8BB6-A362D6E3B9A8}" destId="{9E3F87FB-78B5-421E-A49D-142A0D1B545B}" srcOrd="0" destOrd="0" presId="urn:microsoft.com/office/officeart/2005/8/layout/vList2"/>
    <dgm:cxn modelId="{259D28DF-FE90-4437-BB89-9D316F19CCD1}" srcId="{29B1402D-A153-4C5A-BE98-8D9F1780C5D8}" destId="{7B525D17-DA03-4845-8BB6-A362D6E3B9A8}" srcOrd="2" destOrd="0" parTransId="{D98664A8-52CD-4FF9-AC39-9C849F6FF1B6}" sibTransId="{C3FED653-9A51-44C9-BFBE-61BB79782EBC}"/>
    <dgm:cxn modelId="{C3B31F41-16E2-4497-A528-863E974EC010}" type="presOf" srcId="{29B1402D-A153-4C5A-BE98-8D9F1780C5D8}" destId="{EA2E1B46-256E-4363-AF1A-0C8557BCBA36}" srcOrd="0" destOrd="0" presId="urn:microsoft.com/office/officeart/2005/8/layout/vList2"/>
    <dgm:cxn modelId="{3B2C89C9-AD81-484B-88C3-4D8BEFAB755F}" srcId="{29B1402D-A153-4C5A-BE98-8D9F1780C5D8}" destId="{A65C918B-0E43-4A23-B55C-CB4EB5CF89AE}" srcOrd="3" destOrd="0" parTransId="{7E3763AA-F510-41E5-8272-E9CEF0F3DAC2}" sibTransId="{58E3E9F9-8AC6-492A-B6ED-16AE96442283}"/>
    <dgm:cxn modelId="{E07CAD63-0E86-4D7B-A66A-5C3588C48197}" srcId="{29B1402D-A153-4C5A-BE98-8D9F1780C5D8}" destId="{01B48101-CFA8-4641-83C7-B22F9ABEB30B}" srcOrd="0" destOrd="0" parTransId="{4D5AEF54-14FE-4BA4-987A-BECEB44108D1}" sibTransId="{F03A470E-D788-4E8C-8198-3EC2B90C12B1}"/>
    <dgm:cxn modelId="{E6DE51FB-666D-4727-8EFC-C64EC4A201B1}" type="presParOf" srcId="{EA2E1B46-256E-4363-AF1A-0C8557BCBA36}" destId="{A77B38D6-8EF8-4F56-B969-6807478B1038}" srcOrd="0" destOrd="0" presId="urn:microsoft.com/office/officeart/2005/8/layout/vList2"/>
    <dgm:cxn modelId="{69EBA00A-FA0E-4590-BDEE-A7E95C9B3E33}" type="presParOf" srcId="{EA2E1B46-256E-4363-AF1A-0C8557BCBA36}" destId="{0F2DB7DD-4120-4035-9F85-5EA591086E61}" srcOrd="1" destOrd="0" presId="urn:microsoft.com/office/officeart/2005/8/layout/vList2"/>
    <dgm:cxn modelId="{18162D14-3B23-4706-A6AF-ABCCB3C875AE}" type="presParOf" srcId="{EA2E1B46-256E-4363-AF1A-0C8557BCBA36}" destId="{59E48C42-8BAB-4860-A325-6004150CCBB2}" srcOrd="2" destOrd="0" presId="urn:microsoft.com/office/officeart/2005/8/layout/vList2"/>
    <dgm:cxn modelId="{611BF981-A84B-451D-906F-AFD255B6CCC2}" type="presParOf" srcId="{EA2E1B46-256E-4363-AF1A-0C8557BCBA36}" destId="{906F8408-176C-4BD8-9D58-C6E3F2BA6703}" srcOrd="3" destOrd="0" presId="urn:microsoft.com/office/officeart/2005/8/layout/vList2"/>
    <dgm:cxn modelId="{EAEF4334-71CF-44D9-868C-90ABD329097E}" type="presParOf" srcId="{EA2E1B46-256E-4363-AF1A-0C8557BCBA36}" destId="{9E3F87FB-78B5-421E-A49D-142A0D1B545B}" srcOrd="4" destOrd="0" presId="urn:microsoft.com/office/officeart/2005/8/layout/vList2"/>
    <dgm:cxn modelId="{6A109EB0-0037-48A3-9CCD-94AEDE74B94D}" type="presParOf" srcId="{EA2E1B46-256E-4363-AF1A-0C8557BCBA36}" destId="{FF82868B-7D84-4721-BE9E-774FA3FAD015}" srcOrd="5" destOrd="0" presId="urn:microsoft.com/office/officeart/2005/8/layout/vList2"/>
    <dgm:cxn modelId="{E6C00D44-3190-4D21-8CF3-3F142811A71B}" type="presParOf" srcId="{EA2E1B46-256E-4363-AF1A-0C8557BCBA36}" destId="{AA8668AE-76C2-49F7-AB36-91AE8B3B397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3CAF653-A4B7-411C-9EC1-2C7442200DCB}">
      <dgm:prSet custT="1"/>
      <dgm:spPr/>
      <dgm:t>
        <a:bodyPr/>
        <a:lstStyle/>
        <a:p>
          <a:r>
            <a:rPr lang="en-US" sz="2000" dirty="0" smtClean="0">
              <a:solidFill>
                <a:srgbClr val="000000"/>
              </a:solidFill>
            </a:rPr>
            <a:t>For instance, all of the following are equivalent    </a:t>
          </a:r>
          <a:endParaRPr lang="en-US" sz="2000" dirty="0">
            <a:solidFill>
              <a:srgbClr val="000000"/>
            </a:solidFill>
          </a:endParaRPr>
        </a:p>
      </dgm:t>
    </dgm:pt>
    <dgm:pt modelId="{0AE7E85F-2865-49DC-87C8-F71FE8079111}" type="parTrans" cxnId="{6CB0A940-D233-4A9F-A5A2-AA74E9D5415C}">
      <dgm:prSet/>
      <dgm:spPr/>
      <dgm:t>
        <a:bodyPr/>
        <a:lstStyle/>
        <a:p>
          <a:endParaRPr lang="en-US" sz="2000">
            <a:solidFill>
              <a:srgbClr val="000000"/>
            </a:solidFill>
          </a:endParaRPr>
        </a:p>
      </dgm:t>
    </dgm:pt>
    <dgm:pt modelId="{47B75C4E-DC6C-44FA-9EED-3223F2C49F83}" type="sibTrans" cxnId="{6CB0A940-D233-4A9F-A5A2-AA74E9D5415C}">
      <dgm:prSet/>
      <dgm:spPr/>
      <dgm:t>
        <a:bodyPr/>
        <a:lstStyle/>
        <a:p>
          <a:endParaRPr lang="en-US" sz="2000">
            <a:solidFill>
              <a:srgbClr val="000000"/>
            </a:solidFill>
          </a:endParaRPr>
        </a:p>
      </dgm:t>
    </dgm:pt>
    <dgm:pt modelId="{D7C3502E-EBD8-4712-88FD-D9C2E991CF05}">
      <dgm:prSet phldrT="[Text]" custT="1"/>
      <dgm:spPr/>
      <dgm:t>
        <a:bodyPr/>
        <a:lstStyle/>
        <a:p>
          <a:r>
            <a:rPr lang="en-US" sz="2000" dirty="0" smtClean="0">
              <a:solidFill>
                <a:srgbClr val="000000"/>
              </a:solidFill>
            </a:rPr>
            <a:t>Almost every method on a cursor object returns the cursor itself so that you can chain them in any order. </a:t>
          </a:r>
          <a:endParaRPr lang="en-US" sz="2000" dirty="0">
            <a:solidFill>
              <a:srgbClr val="000000"/>
            </a:solidFill>
          </a:endParaRPr>
        </a:p>
      </dgm:t>
    </dgm:pt>
    <dgm:pt modelId="{4E3D7F19-8627-4243-93C7-E0155BF46B76}" type="parTrans" cxnId="{06D8E20A-4C9D-4779-90D6-27E7EC04005A}">
      <dgm:prSet/>
      <dgm:spPr/>
      <dgm:t>
        <a:bodyPr/>
        <a:lstStyle/>
        <a:p>
          <a:endParaRPr lang="en-US" sz="2000">
            <a:solidFill>
              <a:srgbClr val="000000"/>
            </a:solidFill>
          </a:endParaRPr>
        </a:p>
      </dgm:t>
    </dgm:pt>
    <dgm:pt modelId="{465D353D-6C5F-4A02-8A17-97DF088B0238}" type="sibTrans" cxnId="{06D8E20A-4C9D-4779-90D6-27E7EC04005A}">
      <dgm:prSet/>
      <dgm:spPr/>
      <dgm:t>
        <a:bodyPr/>
        <a:lstStyle/>
        <a:p>
          <a:endParaRPr lang="en-US" sz="2000">
            <a:solidFill>
              <a:srgbClr val="000000"/>
            </a:solidFill>
          </a:endParaRPr>
        </a:p>
      </dgm:t>
    </dgm:pt>
    <dgm:pt modelId="{61C03AF9-F160-43BF-93BB-1030999D6256}">
      <dgm:prSet custT="1"/>
      <dgm:spPr/>
      <dgm:t>
        <a:bodyPr/>
        <a:lstStyle/>
        <a:p>
          <a:r>
            <a:rPr lang="en-US" sz="2000" dirty="0" smtClean="0">
              <a:solidFill>
                <a:srgbClr val="000000"/>
              </a:solidFill>
            </a:rPr>
            <a:t> var mycursor = db.employees.find().sort({"firstname" : -1}).limit(10).skip(2);</a:t>
          </a:r>
        </a:p>
      </dgm:t>
    </dgm:pt>
    <dgm:pt modelId="{34B24100-F483-417F-BBAF-62954CCC500B}" type="parTrans" cxnId="{028C86DF-7A0C-4D5E-942C-63DB15658F9F}">
      <dgm:prSet/>
      <dgm:spPr/>
      <dgm:t>
        <a:bodyPr/>
        <a:lstStyle/>
        <a:p>
          <a:endParaRPr lang="en-US">
            <a:solidFill>
              <a:srgbClr val="000000"/>
            </a:solidFill>
          </a:endParaRPr>
        </a:p>
      </dgm:t>
    </dgm:pt>
    <dgm:pt modelId="{25AAC1D7-9227-4152-BE82-7E81793BA3CE}" type="sibTrans" cxnId="{028C86DF-7A0C-4D5E-942C-63DB15658F9F}">
      <dgm:prSet/>
      <dgm:spPr/>
      <dgm:t>
        <a:bodyPr/>
        <a:lstStyle/>
        <a:p>
          <a:endParaRPr lang="en-US">
            <a:solidFill>
              <a:srgbClr val="000000"/>
            </a:solidFill>
          </a:endParaRPr>
        </a:p>
      </dgm:t>
    </dgm:pt>
    <dgm:pt modelId="{C066366E-A6C8-4D1D-AD80-95E0E1605FB8}">
      <dgm:prSet custT="1"/>
      <dgm:spPr/>
      <dgm:t>
        <a:bodyPr/>
        <a:lstStyle/>
        <a:p>
          <a:r>
            <a:rPr lang="en-US" sz="2000" dirty="0" smtClean="0">
              <a:solidFill>
                <a:srgbClr val="000000"/>
              </a:solidFill>
            </a:rPr>
            <a:t>while(mycursor .hasNext()){print(tojson(mycursor .next()));}</a:t>
          </a:r>
        </a:p>
      </dgm:t>
    </dgm:pt>
    <dgm:pt modelId="{DCE67DFF-4B81-46D9-BAC2-9883BE107C24}" type="parTrans" cxnId="{3E3B1AE5-52FC-420A-9924-8ED8BF1D3B1F}">
      <dgm:prSet/>
      <dgm:spPr/>
      <dgm:t>
        <a:bodyPr/>
        <a:lstStyle/>
        <a:p>
          <a:endParaRPr lang="en-US"/>
        </a:p>
      </dgm:t>
    </dgm:pt>
    <dgm:pt modelId="{05003192-DDDC-42D5-B209-2ACD4C04448C}" type="sibTrans" cxnId="{3E3B1AE5-52FC-420A-9924-8ED8BF1D3B1F}">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84A2CA45-13E9-4881-9342-2160FB32EA5D}" type="pres">
      <dgm:prSet presAssocID="{D7C3502E-EBD8-4712-88FD-D9C2E991CF05}" presName="parentText" presStyleLbl="node1" presStyleIdx="0" presStyleCnt="2" custLinFactY="-37815" custLinFactNeighborX="-442" custLinFactNeighborY="-100000">
        <dgm:presLayoutVars>
          <dgm:chMax val="0"/>
          <dgm:bulletEnabled val="1"/>
        </dgm:presLayoutVars>
      </dgm:prSet>
      <dgm:spPr/>
      <dgm:t>
        <a:bodyPr/>
        <a:lstStyle/>
        <a:p>
          <a:endParaRPr lang="en-US"/>
        </a:p>
      </dgm:t>
    </dgm:pt>
    <dgm:pt modelId="{06E03E82-3896-4848-901C-352F866E4490}" type="pres">
      <dgm:prSet presAssocID="{465D353D-6C5F-4A02-8A17-97DF088B0238}" presName="spacer" presStyleCnt="0"/>
      <dgm:spPr/>
    </dgm:pt>
    <dgm:pt modelId="{3CF23DE7-FD70-4F2A-AF8C-11310912029D}" type="pres">
      <dgm:prSet presAssocID="{33CAF653-A4B7-411C-9EC1-2C7442200DCB}" presName="parentText" presStyleLbl="node1" presStyleIdx="1" presStyleCnt="2" custLinFactNeighborY="-39117">
        <dgm:presLayoutVars>
          <dgm:chMax val="0"/>
          <dgm:bulletEnabled val="1"/>
        </dgm:presLayoutVars>
      </dgm:prSet>
      <dgm:spPr/>
      <dgm:t>
        <a:bodyPr/>
        <a:lstStyle/>
        <a:p>
          <a:endParaRPr lang="en-US"/>
        </a:p>
      </dgm:t>
    </dgm:pt>
    <dgm:pt modelId="{DD3040F6-CF30-40DB-89F3-984781355782}" type="pres">
      <dgm:prSet presAssocID="{33CAF653-A4B7-411C-9EC1-2C7442200DCB}" presName="childText" presStyleLbl="revTx" presStyleIdx="0" presStyleCnt="1" custLinFactNeighborX="442" custLinFactNeighborY="-20353">
        <dgm:presLayoutVars>
          <dgm:bulletEnabled val="1"/>
        </dgm:presLayoutVars>
      </dgm:prSet>
      <dgm:spPr/>
      <dgm:t>
        <a:bodyPr/>
        <a:lstStyle/>
        <a:p>
          <a:endParaRPr lang="en-US"/>
        </a:p>
      </dgm:t>
    </dgm:pt>
  </dgm:ptLst>
  <dgm:cxnLst>
    <dgm:cxn modelId="{17780918-74C0-4D72-9868-847572025C88}" type="presOf" srcId="{61C03AF9-F160-43BF-93BB-1030999D6256}" destId="{DD3040F6-CF30-40DB-89F3-984781355782}" srcOrd="0" destOrd="0" presId="urn:microsoft.com/office/officeart/2005/8/layout/vList2"/>
    <dgm:cxn modelId="{3E3B1AE5-52FC-420A-9924-8ED8BF1D3B1F}" srcId="{33CAF653-A4B7-411C-9EC1-2C7442200DCB}" destId="{C066366E-A6C8-4D1D-AD80-95E0E1605FB8}" srcOrd="1" destOrd="0" parTransId="{DCE67DFF-4B81-46D9-BAC2-9883BE107C24}" sibTransId="{05003192-DDDC-42D5-B209-2ACD4C04448C}"/>
    <dgm:cxn modelId="{4F0E2767-BC95-4F6B-A9F2-9E01067721D5}" type="presOf" srcId="{29B1402D-A153-4C5A-BE98-8D9F1780C5D8}" destId="{EA2E1B46-256E-4363-AF1A-0C8557BCBA36}" srcOrd="0" destOrd="0" presId="urn:microsoft.com/office/officeart/2005/8/layout/vList2"/>
    <dgm:cxn modelId="{028C86DF-7A0C-4D5E-942C-63DB15658F9F}" srcId="{33CAF653-A4B7-411C-9EC1-2C7442200DCB}" destId="{61C03AF9-F160-43BF-93BB-1030999D6256}" srcOrd="0" destOrd="0" parTransId="{34B24100-F483-417F-BBAF-62954CCC500B}" sibTransId="{25AAC1D7-9227-4152-BE82-7E81793BA3CE}"/>
    <dgm:cxn modelId="{B44981E5-EBD8-478F-BEDD-BB6D21A41373}" type="presOf" srcId="{33CAF653-A4B7-411C-9EC1-2C7442200DCB}" destId="{3CF23DE7-FD70-4F2A-AF8C-11310912029D}" srcOrd="0" destOrd="0" presId="urn:microsoft.com/office/officeart/2005/8/layout/vList2"/>
    <dgm:cxn modelId="{F840144D-1ED1-4A75-99BB-2E03C10CDC87}" type="presOf" srcId="{C066366E-A6C8-4D1D-AD80-95E0E1605FB8}" destId="{DD3040F6-CF30-40DB-89F3-984781355782}" srcOrd="0" destOrd="1" presId="urn:microsoft.com/office/officeart/2005/8/layout/vList2"/>
    <dgm:cxn modelId="{06D8E20A-4C9D-4779-90D6-27E7EC04005A}" srcId="{29B1402D-A153-4C5A-BE98-8D9F1780C5D8}" destId="{D7C3502E-EBD8-4712-88FD-D9C2E991CF05}" srcOrd="0" destOrd="0" parTransId="{4E3D7F19-8627-4243-93C7-E0155BF46B76}" sibTransId="{465D353D-6C5F-4A02-8A17-97DF088B0238}"/>
    <dgm:cxn modelId="{6CB0A940-D233-4A9F-A5A2-AA74E9D5415C}" srcId="{29B1402D-A153-4C5A-BE98-8D9F1780C5D8}" destId="{33CAF653-A4B7-411C-9EC1-2C7442200DCB}" srcOrd="1" destOrd="0" parTransId="{0AE7E85F-2865-49DC-87C8-F71FE8079111}" sibTransId="{47B75C4E-DC6C-44FA-9EED-3223F2C49F83}"/>
    <dgm:cxn modelId="{505DF3C0-17E7-4F90-BC21-AC8D6D51F3CD}" type="presOf" srcId="{D7C3502E-EBD8-4712-88FD-D9C2E991CF05}" destId="{84A2CA45-13E9-4881-9342-2160FB32EA5D}" srcOrd="0" destOrd="0" presId="urn:microsoft.com/office/officeart/2005/8/layout/vList2"/>
    <dgm:cxn modelId="{D2F8E032-E113-43CD-B706-033EA2CF30E5}" type="presParOf" srcId="{EA2E1B46-256E-4363-AF1A-0C8557BCBA36}" destId="{84A2CA45-13E9-4881-9342-2160FB32EA5D}" srcOrd="0" destOrd="0" presId="urn:microsoft.com/office/officeart/2005/8/layout/vList2"/>
    <dgm:cxn modelId="{DD429202-410F-4CB5-9907-21E34BA6C856}" type="presParOf" srcId="{EA2E1B46-256E-4363-AF1A-0C8557BCBA36}" destId="{06E03E82-3896-4848-901C-352F866E4490}" srcOrd="1" destOrd="0" presId="urn:microsoft.com/office/officeart/2005/8/layout/vList2"/>
    <dgm:cxn modelId="{A00B5CDF-54DB-4883-9098-5A11F34EBDC9}" type="presParOf" srcId="{EA2E1B46-256E-4363-AF1A-0C8557BCBA36}" destId="{3CF23DE7-FD70-4F2A-AF8C-11310912029D}" srcOrd="2" destOrd="0" presId="urn:microsoft.com/office/officeart/2005/8/layout/vList2"/>
    <dgm:cxn modelId="{1EA2AD16-50DA-47E4-9242-FBA2641AB64C}" type="presParOf" srcId="{EA2E1B46-256E-4363-AF1A-0C8557BCBA36}" destId="{DD3040F6-CF30-40DB-89F3-984781355782}"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altLang="zh-CN" sz="2000" dirty="0" smtClean="0">
              <a:solidFill>
                <a:srgbClr val="000000"/>
              </a:solidFill>
            </a:rPr>
            <a:t>Behind Find() : Cursor</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19652BF1-364F-463A-A163-1044762D23CD}">
      <dgm:prSet custT="1"/>
      <dgm:spPr/>
      <dgm:t>
        <a:bodyPr/>
        <a:lstStyle/>
        <a:p>
          <a:r>
            <a:rPr lang="en-US" altLang="zh-CN" sz="2000" dirty="0" smtClean="0">
              <a:solidFill>
                <a:srgbClr val="000000"/>
              </a:solidFill>
            </a:rPr>
            <a:t>The database returns results from find using a </a:t>
          </a:r>
          <a:r>
            <a:rPr lang="en-US" altLang="zh-CN" sz="2000" i="1" dirty="0" smtClean="0">
              <a:solidFill>
                <a:srgbClr val="000000"/>
              </a:solidFill>
            </a:rPr>
            <a:t>cursor</a:t>
          </a:r>
          <a:r>
            <a:rPr lang="en-US" altLang="zh-CN" sz="2000" dirty="0" smtClean="0">
              <a:solidFill>
                <a:srgbClr val="000000"/>
              </a:solidFill>
            </a:rPr>
            <a:t>.</a:t>
          </a:r>
        </a:p>
      </dgm:t>
    </dgm:pt>
    <dgm:pt modelId="{B543F850-EDF1-40C3-9831-5258C891AD5E}" type="parTrans" cxnId="{BBA80A7F-A57E-4F29-9C9D-928F39300817}">
      <dgm:prSet/>
      <dgm:spPr/>
      <dgm:t>
        <a:bodyPr/>
        <a:lstStyle/>
        <a:p>
          <a:endParaRPr lang="en-US" sz="2000">
            <a:solidFill>
              <a:srgbClr val="000000"/>
            </a:solidFill>
          </a:endParaRPr>
        </a:p>
      </dgm:t>
    </dgm:pt>
    <dgm:pt modelId="{F440A58D-1FC8-4148-8D8A-8375EF1BBFF2}" type="sibTrans" cxnId="{BBA80A7F-A57E-4F29-9C9D-928F39300817}">
      <dgm:prSet/>
      <dgm:spPr/>
      <dgm:t>
        <a:bodyPr/>
        <a:lstStyle/>
        <a:p>
          <a:endParaRPr lang="en-US" sz="2000">
            <a:solidFill>
              <a:srgbClr val="000000"/>
            </a:solidFill>
          </a:endParaRPr>
        </a:p>
      </dgm:t>
    </dgm:pt>
    <dgm:pt modelId="{73474404-5914-4150-8107-EBC15A28235C}">
      <dgm:prSet custT="1"/>
      <dgm:spPr/>
      <dgm:t>
        <a:bodyPr/>
        <a:lstStyle/>
        <a:p>
          <a:r>
            <a:rPr lang="en-US" altLang="zh-CN" sz="2000" dirty="0" smtClean="0">
              <a:solidFill>
                <a:srgbClr val="000000"/>
              </a:solidFill>
            </a:rPr>
            <a:t>The client-side implementations of cursors generally allow you to control a great deal about the eventual output of a query.</a:t>
          </a:r>
        </a:p>
      </dgm:t>
    </dgm:pt>
    <dgm:pt modelId="{19FCCEEA-09CB-4AD2-B938-58695BA9C4EE}" type="parTrans" cxnId="{02836890-FDBA-49AC-945B-A1F5C1C1156F}">
      <dgm:prSet/>
      <dgm:spPr/>
      <dgm:t>
        <a:bodyPr/>
        <a:lstStyle/>
        <a:p>
          <a:endParaRPr lang="en-US" sz="2000">
            <a:solidFill>
              <a:srgbClr val="000000"/>
            </a:solidFill>
          </a:endParaRPr>
        </a:p>
      </dgm:t>
    </dgm:pt>
    <dgm:pt modelId="{BCACD1D8-A29D-4408-9733-CDA85587A990}" type="sibTrans" cxnId="{02836890-FDBA-49AC-945B-A1F5C1C1156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custLinFactNeighborY="-7079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custLinFactNeighborX="220" custLinFactNeighborY="-36008">
        <dgm:presLayoutVars>
          <dgm:bulletEnabled val="1"/>
        </dgm:presLayoutVars>
      </dgm:prSet>
      <dgm:spPr/>
      <dgm:t>
        <a:bodyPr/>
        <a:lstStyle/>
        <a:p>
          <a:endParaRPr lang="en-US"/>
        </a:p>
      </dgm:t>
    </dgm:pt>
  </dgm:ptLst>
  <dgm:cxnLst>
    <dgm:cxn modelId="{193D0A1E-E348-404E-8798-56003EA3E38B}" type="presOf" srcId="{29B1402D-A153-4C5A-BE98-8D9F1780C5D8}" destId="{EA2E1B46-256E-4363-AF1A-0C8557BCBA36}"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03308FF2-81F0-43D8-8BB5-5D8794B330CC}" type="presOf" srcId="{73474404-5914-4150-8107-EBC15A28235C}" destId="{D35D2B51-CDB9-456F-AB69-03B1DA780EB7}" srcOrd="0" destOrd="1" presId="urn:microsoft.com/office/officeart/2005/8/layout/vList2"/>
    <dgm:cxn modelId="{BBA80A7F-A57E-4F29-9C9D-928F39300817}" srcId="{01B48101-CFA8-4641-83C7-B22F9ABEB30B}" destId="{19652BF1-364F-463A-A163-1044762D23CD}" srcOrd="0" destOrd="0" parTransId="{B543F850-EDF1-40C3-9831-5258C891AD5E}" sibTransId="{F440A58D-1FC8-4148-8D8A-8375EF1BBFF2}"/>
    <dgm:cxn modelId="{02836890-FDBA-49AC-945B-A1F5C1C1156F}" srcId="{01B48101-CFA8-4641-83C7-B22F9ABEB30B}" destId="{73474404-5914-4150-8107-EBC15A28235C}" srcOrd="1" destOrd="0" parTransId="{19FCCEEA-09CB-4AD2-B938-58695BA9C4EE}" sibTransId="{BCACD1D8-A29D-4408-9733-CDA85587A990}"/>
    <dgm:cxn modelId="{08B12D8E-B717-4167-8AE0-81CFF32C1BD8}" type="presOf" srcId="{01B48101-CFA8-4641-83C7-B22F9ABEB30B}" destId="{A77B38D6-8EF8-4F56-B969-6807478B1038}" srcOrd="0" destOrd="0" presId="urn:microsoft.com/office/officeart/2005/8/layout/vList2"/>
    <dgm:cxn modelId="{20406C8E-FA5D-4558-809B-61CF3CF19F2D}" type="presOf" srcId="{19652BF1-364F-463A-A163-1044762D23CD}" destId="{D35D2B51-CDB9-456F-AB69-03B1DA780EB7}" srcOrd="0" destOrd="0" presId="urn:microsoft.com/office/officeart/2005/8/layout/vList2"/>
    <dgm:cxn modelId="{AD47DA18-D276-4054-BAB2-2C108231958E}" type="presParOf" srcId="{EA2E1B46-256E-4363-AF1A-0C8557BCBA36}" destId="{A77B38D6-8EF8-4F56-B969-6807478B1038}" srcOrd="0" destOrd="0" presId="urn:microsoft.com/office/officeart/2005/8/layout/vList2"/>
    <dgm:cxn modelId="{63575565-A34E-4B72-A4CF-CFFEEB8D37E0}"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altLang="zh-CN" sz="2000" dirty="0" smtClean="0">
              <a:solidFill>
                <a:srgbClr val="000000"/>
              </a:solidFill>
            </a:rPr>
            <a:t>Behind Find() : Cursor (Cont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3AD173B1-D7D7-4C53-A149-7668E6B6D774}">
      <dgm:prSet custT="1"/>
      <dgm:spPr/>
      <dgm:t>
        <a:bodyPr/>
        <a:lstStyle/>
        <a:p>
          <a:r>
            <a:rPr lang="en-US" altLang="zh-CN" sz="2000" dirty="0" smtClean="0">
              <a:solidFill>
                <a:srgbClr val="000000"/>
              </a:solidFill>
            </a:rPr>
            <a:t> Getting Consistent Results?</a:t>
          </a:r>
        </a:p>
      </dgm:t>
    </dgm:pt>
    <dgm:pt modelId="{E98A92EA-AFCE-4D92-B1ED-86C9D8428F76}" type="parTrans" cxnId="{00CEFF24-9EBB-4A4D-9214-B732292DB806}">
      <dgm:prSet/>
      <dgm:spPr/>
      <dgm:t>
        <a:bodyPr/>
        <a:lstStyle/>
        <a:p>
          <a:endParaRPr lang="en-US" sz="2000">
            <a:solidFill>
              <a:srgbClr val="000000"/>
            </a:solidFill>
          </a:endParaRPr>
        </a:p>
      </dgm:t>
    </dgm:pt>
    <dgm:pt modelId="{2975DB33-020C-48E3-ACE8-C0440DC33A11}" type="sibTrans" cxnId="{00CEFF24-9EBB-4A4D-9214-B732292DB806}">
      <dgm:prSet/>
      <dgm:spPr/>
      <dgm:t>
        <a:bodyPr/>
        <a:lstStyle/>
        <a:p>
          <a:endParaRPr lang="en-US" sz="2000">
            <a:solidFill>
              <a:srgbClr val="000000"/>
            </a:solidFill>
          </a:endParaRPr>
        </a:p>
      </dgm:t>
    </dgm:pt>
    <dgm:pt modelId="{BD551137-6006-4DE6-B8F9-1EE4C8AC35A1}">
      <dgm:prSet custT="1"/>
      <dgm:spPr/>
      <dgm:t>
        <a:bodyPr/>
        <a:lstStyle/>
        <a:p>
          <a:r>
            <a:rPr lang="en-US" altLang="zh-CN" sz="2000" dirty="0" smtClean="0">
              <a:solidFill>
                <a:srgbClr val="000000"/>
              </a:solidFill>
            </a:rPr>
            <a:t> var cursor = db.employees.find({address.city:”Pune”}).snapshot(); </a:t>
          </a:r>
        </a:p>
      </dgm:t>
    </dgm:pt>
    <dgm:pt modelId="{5C03F88F-3754-46F5-ACDF-856A053C3AB0}" type="parTrans" cxnId="{135DE1B4-7E85-447A-B6CA-B868DE827D77}">
      <dgm:prSet/>
      <dgm:spPr/>
      <dgm:t>
        <a:bodyPr/>
        <a:lstStyle/>
        <a:p>
          <a:endParaRPr lang="en-US" sz="2000">
            <a:solidFill>
              <a:srgbClr val="000000"/>
            </a:solidFill>
          </a:endParaRPr>
        </a:p>
      </dgm:t>
    </dgm:pt>
    <dgm:pt modelId="{8038A2D4-974D-4805-A8F7-4B606503B177}" type="sibTrans" cxnId="{135DE1B4-7E85-447A-B6CA-B868DE827D77}">
      <dgm:prSet/>
      <dgm:spPr/>
      <dgm:t>
        <a:bodyPr/>
        <a:lstStyle/>
        <a:p>
          <a:endParaRPr lang="en-US" sz="2000">
            <a:solidFill>
              <a:srgbClr val="000000"/>
            </a:solidFill>
          </a:endParaRPr>
        </a:p>
      </dgm:t>
    </dgm:pt>
    <dgm:pt modelId="{A1AC8C6E-909B-4E9D-AF30-017715510D01}">
      <dgm:prSet custT="1"/>
      <dgm:spPr/>
      <dgm:t>
        <a:bodyPr/>
        <a:lstStyle/>
        <a:p>
          <a:r>
            <a:rPr lang="en-US" altLang="zh-CN" sz="2000" dirty="0" smtClean="0">
              <a:solidFill>
                <a:srgbClr val="000000"/>
              </a:solidFill>
            </a:rPr>
            <a:t>A fairly common way of processing data is to pull it out of MongoDB, change it in some way, and then save it again:</a:t>
          </a:r>
        </a:p>
      </dgm:t>
    </dgm:pt>
    <dgm:pt modelId="{D5C261D6-C03D-49E4-8ACC-5BA6C632DAE0}" type="parTrans" cxnId="{9A0AE647-6F83-4EA4-929A-547EF8575783}">
      <dgm:prSet/>
      <dgm:spPr/>
      <dgm:t>
        <a:bodyPr/>
        <a:lstStyle/>
        <a:p>
          <a:endParaRPr lang="en-US" sz="2000">
            <a:solidFill>
              <a:srgbClr val="000000"/>
            </a:solidFill>
          </a:endParaRPr>
        </a:p>
      </dgm:t>
    </dgm:pt>
    <dgm:pt modelId="{CB160BE9-F670-4663-B688-138DBBD81F9E}" type="sibTrans" cxnId="{9A0AE647-6F83-4EA4-929A-547EF8575783}">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LinFactNeighborY="-31856">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 modelId="{52D6B9C9-4581-47B0-8DC3-3E398C6486D7}" type="pres">
      <dgm:prSet presAssocID="{A1AC8C6E-909B-4E9D-AF30-017715510D01}" presName="parentText" presStyleLbl="node1" presStyleIdx="1" presStyleCnt="2">
        <dgm:presLayoutVars>
          <dgm:chMax val="0"/>
          <dgm:bulletEnabled val="1"/>
        </dgm:presLayoutVars>
      </dgm:prSet>
      <dgm:spPr/>
      <dgm:t>
        <a:bodyPr/>
        <a:lstStyle/>
        <a:p>
          <a:endParaRPr lang="en-US"/>
        </a:p>
      </dgm:t>
    </dgm:pt>
  </dgm:ptLst>
  <dgm:cxnLst>
    <dgm:cxn modelId="{A3EAE895-5219-4B0E-ABBA-4B1765791DE7}" type="presOf" srcId="{BD551137-6006-4DE6-B8F9-1EE4C8AC35A1}" destId="{D35D2B51-CDB9-456F-AB69-03B1DA780EB7}" srcOrd="0" destOrd="1" presId="urn:microsoft.com/office/officeart/2005/8/layout/vList2"/>
    <dgm:cxn modelId="{9D92BF59-7842-4547-8A16-333A8EFBF5F4}" type="presOf" srcId="{3AD173B1-D7D7-4C53-A149-7668E6B6D774}" destId="{D35D2B51-CDB9-456F-AB69-03B1DA780EB7}" srcOrd="0" destOrd="0" presId="urn:microsoft.com/office/officeart/2005/8/layout/vList2"/>
    <dgm:cxn modelId="{6228B40E-250E-4E82-B7E2-CE6877DCDC21}" type="presOf" srcId="{29B1402D-A153-4C5A-BE98-8D9F1780C5D8}" destId="{EA2E1B46-256E-4363-AF1A-0C8557BCBA36}" srcOrd="0" destOrd="0" presId="urn:microsoft.com/office/officeart/2005/8/layout/vList2"/>
    <dgm:cxn modelId="{9A0AE647-6F83-4EA4-929A-547EF8575783}" srcId="{29B1402D-A153-4C5A-BE98-8D9F1780C5D8}" destId="{A1AC8C6E-909B-4E9D-AF30-017715510D01}" srcOrd="1" destOrd="0" parTransId="{D5C261D6-C03D-49E4-8ACC-5BA6C632DAE0}" sibTransId="{CB160BE9-F670-4663-B688-138DBBD81F9E}"/>
    <dgm:cxn modelId="{C150DCA0-3082-4C9D-8634-CCCF7066935C}" type="presOf" srcId="{01B48101-CFA8-4641-83C7-B22F9ABEB30B}" destId="{A77B38D6-8EF8-4F56-B969-6807478B1038}" srcOrd="0" destOrd="0" presId="urn:microsoft.com/office/officeart/2005/8/layout/vList2"/>
    <dgm:cxn modelId="{135DE1B4-7E85-447A-B6CA-B868DE827D77}" srcId="{01B48101-CFA8-4641-83C7-B22F9ABEB30B}" destId="{BD551137-6006-4DE6-B8F9-1EE4C8AC35A1}" srcOrd="1" destOrd="0" parTransId="{5C03F88F-3754-46F5-ACDF-856A053C3AB0}" sibTransId="{8038A2D4-974D-4805-A8F7-4B606503B177}"/>
    <dgm:cxn modelId="{00CEFF24-9EBB-4A4D-9214-B732292DB806}" srcId="{01B48101-CFA8-4641-83C7-B22F9ABEB30B}" destId="{3AD173B1-D7D7-4C53-A149-7668E6B6D774}" srcOrd="0" destOrd="0" parTransId="{E98A92EA-AFCE-4D92-B1ED-86C9D8428F76}" sibTransId="{2975DB33-020C-48E3-ACE8-C0440DC33A11}"/>
    <dgm:cxn modelId="{6CCFD343-2561-4D17-A597-80757AB7214B}" type="presOf" srcId="{A1AC8C6E-909B-4E9D-AF30-017715510D01}" destId="{52D6B9C9-4581-47B0-8DC3-3E398C6486D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7723BDEA-435C-4943-9F0A-498D51ADA21C}" type="presParOf" srcId="{EA2E1B46-256E-4363-AF1A-0C8557BCBA36}" destId="{A77B38D6-8EF8-4F56-B969-6807478B1038}" srcOrd="0" destOrd="0" presId="urn:microsoft.com/office/officeart/2005/8/layout/vList2"/>
    <dgm:cxn modelId="{48072FBA-AADD-43F0-9918-B9B6FC40C4CB}" type="presParOf" srcId="{EA2E1B46-256E-4363-AF1A-0C8557BCBA36}" destId="{D35D2B51-CDB9-456F-AB69-03B1DA780EB7}" srcOrd="1" destOrd="0" presId="urn:microsoft.com/office/officeart/2005/8/layout/vList2"/>
    <dgm:cxn modelId="{B1E87173-7AD9-4DE5-94C4-2C8A7EF29856}" type="presParOf" srcId="{EA2E1B46-256E-4363-AF1A-0C8557BCBA36}" destId="{52D6B9C9-4581-47B0-8DC3-3E398C6486D7}"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4BA5BD87-38FE-41E9-B9A9-21363665BA15}"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4D0BE68C-6EA0-4220-ADEE-D28B6FE63BC8}">
      <dgm:prSet phldrT="[Text]"/>
      <dgm:spPr/>
      <dgm:t>
        <a:bodyPr/>
        <a:lstStyle/>
        <a:p>
          <a:r>
            <a:rPr lang="en-US" dirty="0" smtClean="0"/>
            <a:t>Understand about Create a document </a:t>
          </a:r>
          <a:endParaRPr lang="en-US" dirty="0"/>
        </a:p>
      </dgm:t>
    </dgm:pt>
    <dgm:pt modelId="{7146A096-353E-41FC-9461-C61A160CD95F}" type="parTrans" cxnId="{B98887AC-A021-4E53-9A76-E0D5BC39FA7B}">
      <dgm:prSet/>
      <dgm:spPr/>
      <dgm:t>
        <a:bodyPr/>
        <a:lstStyle/>
        <a:p>
          <a:endParaRPr lang="en-US"/>
        </a:p>
      </dgm:t>
    </dgm:pt>
    <dgm:pt modelId="{00662A4E-4D4B-46BA-B415-E20DEE88E48E}" type="sibTrans" cxnId="{B98887AC-A021-4E53-9A76-E0D5BC39FA7B}">
      <dgm:prSet/>
      <dgm:spPr/>
      <dgm:t>
        <a:bodyPr/>
        <a:lstStyle/>
        <a:p>
          <a:endParaRPr lang="en-US"/>
        </a:p>
      </dgm:t>
    </dgm:pt>
    <dgm:pt modelId="{8F15C91C-127D-437D-9B12-480DE8E0F223}">
      <dgm:prSet phldrT="[Text]"/>
      <dgm:spPr/>
      <dgm:t>
        <a:bodyPr/>
        <a:lstStyle/>
        <a:p>
          <a:r>
            <a:rPr lang="en-US" dirty="0" smtClean="0"/>
            <a:t>Insert, Update and delete a document</a:t>
          </a:r>
          <a:endParaRPr lang="en-US" dirty="0"/>
        </a:p>
      </dgm:t>
    </dgm:pt>
    <dgm:pt modelId="{5757A3E8-E589-4D96-AD49-3657B2A874CA}" type="parTrans" cxnId="{0FCC75EA-35A1-456C-9D22-8496E2C2DE80}">
      <dgm:prSet/>
      <dgm:spPr/>
      <dgm:t>
        <a:bodyPr/>
        <a:lstStyle/>
        <a:p>
          <a:endParaRPr lang="en-US"/>
        </a:p>
      </dgm:t>
    </dgm:pt>
    <dgm:pt modelId="{2E677E6D-E4C0-4DA5-917C-55BC06DC9811}" type="sibTrans" cxnId="{0FCC75EA-35A1-456C-9D22-8496E2C2DE80}">
      <dgm:prSet/>
      <dgm:spPr/>
      <dgm:t>
        <a:bodyPr/>
        <a:lstStyle/>
        <a:p>
          <a:endParaRPr lang="en-US"/>
        </a:p>
      </dgm:t>
    </dgm:pt>
    <dgm:pt modelId="{0F69AC30-E9F7-4C8A-AC98-398A867DCB28}">
      <dgm:prSet phldrT="[Text]"/>
      <dgm:spPr/>
      <dgm:t>
        <a:bodyPr/>
        <a:lstStyle/>
        <a:p>
          <a:r>
            <a:rPr lang="en-US" dirty="0" smtClean="0"/>
            <a:t>Read a document using find()</a:t>
          </a:r>
          <a:endParaRPr lang="en-US" dirty="0"/>
        </a:p>
      </dgm:t>
    </dgm:pt>
    <dgm:pt modelId="{71FAC065-00BC-4687-A9ED-7D3454699DF5}" type="parTrans" cxnId="{A1AA1783-9E2D-4760-8D09-5F7081ABE8DC}">
      <dgm:prSet/>
      <dgm:spPr/>
      <dgm:t>
        <a:bodyPr/>
        <a:lstStyle/>
        <a:p>
          <a:endParaRPr lang="en-US"/>
        </a:p>
      </dgm:t>
    </dgm:pt>
    <dgm:pt modelId="{CE803F04-CC21-4971-94A7-B349C41E1F97}" type="sibTrans" cxnId="{A1AA1783-9E2D-4760-8D09-5F7081ABE8DC}">
      <dgm:prSet/>
      <dgm:spPr/>
      <dgm:t>
        <a:bodyPr/>
        <a:lstStyle/>
        <a:p>
          <a:endParaRPr lang="en-US"/>
        </a:p>
      </dgm:t>
    </dgm:pt>
    <dgm:pt modelId="{24663FB5-186B-48ED-B513-1140FC2553CD}">
      <dgm:prSet phldrT="[Text]"/>
      <dgm:spPr/>
      <dgm:t>
        <a:bodyPr/>
        <a:lstStyle/>
        <a:p>
          <a:r>
            <a:rPr lang="en-US" dirty="0" smtClean="0"/>
            <a:t>Types of Operators </a:t>
          </a:r>
          <a:endParaRPr lang="en-US" dirty="0"/>
        </a:p>
      </dgm:t>
    </dgm:pt>
    <dgm:pt modelId="{5DBE311D-8E3A-4D88-A957-6925B800ADE2}" type="parTrans" cxnId="{55063283-A8AB-4549-933B-02905BDA6EC4}">
      <dgm:prSet/>
      <dgm:spPr/>
      <dgm:t>
        <a:bodyPr/>
        <a:lstStyle/>
        <a:p>
          <a:endParaRPr lang="en-US"/>
        </a:p>
      </dgm:t>
    </dgm:pt>
    <dgm:pt modelId="{B864E916-A2EA-43AE-9931-71176E6F6440}" type="sibTrans" cxnId="{55063283-A8AB-4549-933B-02905BDA6EC4}">
      <dgm:prSet/>
      <dgm:spPr/>
      <dgm:t>
        <a:bodyPr/>
        <a:lstStyle/>
        <a:p>
          <a:endParaRPr lang="en-US"/>
        </a:p>
      </dgm:t>
    </dgm:pt>
    <dgm:pt modelId="{79F13907-561D-463C-A0BA-7DC68B7A2643}">
      <dgm:prSet phldrT="[Text]"/>
      <dgm:spPr/>
      <dgm:t>
        <a:bodyPr/>
        <a:lstStyle/>
        <a:p>
          <a:r>
            <a:rPr lang="en-US" dirty="0" smtClean="0"/>
            <a:t>Comparison and logical Operators</a:t>
          </a:r>
          <a:endParaRPr lang="en-US" dirty="0"/>
        </a:p>
      </dgm:t>
    </dgm:pt>
    <dgm:pt modelId="{D759D36B-4405-47BA-A5B0-DA6F5F1B0898}" type="parTrans" cxnId="{AACC8B4D-DE80-4D70-8157-B7F9122B6FCA}">
      <dgm:prSet/>
      <dgm:spPr/>
      <dgm:t>
        <a:bodyPr/>
        <a:lstStyle/>
        <a:p>
          <a:endParaRPr lang="en-US"/>
        </a:p>
      </dgm:t>
    </dgm:pt>
    <dgm:pt modelId="{D8806182-2D93-4B26-8A2C-3974F58490E8}" type="sibTrans" cxnId="{AACC8B4D-DE80-4D70-8157-B7F9122B6FCA}">
      <dgm:prSet/>
      <dgm:spPr/>
      <dgm:t>
        <a:bodyPr/>
        <a:lstStyle/>
        <a:p>
          <a:endParaRPr lang="en-US"/>
        </a:p>
      </dgm:t>
    </dgm:pt>
    <dgm:pt modelId="{1E8FA13D-CEB2-4710-A97D-D2DF50DA94CA}">
      <dgm:prSet phldrT="[Text]"/>
      <dgm:spPr/>
      <dgm:t>
        <a:bodyPr/>
        <a:lstStyle/>
        <a:p>
          <a:r>
            <a:rPr lang="en-US" dirty="0" smtClean="0"/>
            <a:t>Sort, limit and skip operators </a:t>
          </a:r>
          <a:endParaRPr lang="en-US" dirty="0"/>
        </a:p>
      </dgm:t>
    </dgm:pt>
    <dgm:pt modelId="{93C3E2E9-CC97-43DF-B3D0-35C733736B62}" type="parTrans" cxnId="{B509EEE9-790B-4CE6-9540-6A0A399B0C2A}">
      <dgm:prSet/>
      <dgm:spPr/>
      <dgm:t>
        <a:bodyPr/>
        <a:lstStyle/>
        <a:p>
          <a:endParaRPr lang="en-US"/>
        </a:p>
      </dgm:t>
    </dgm:pt>
    <dgm:pt modelId="{37AAB3DF-0E6B-4E4E-BA83-4743692330F2}" type="sibTrans" cxnId="{B509EEE9-790B-4CE6-9540-6A0A399B0C2A}">
      <dgm:prSet/>
      <dgm:spPr/>
      <dgm:t>
        <a:bodyPr/>
        <a:lstStyle/>
        <a:p>
          <a:endParaRPr lang="en-US"/>
        </a:p>
      </dgm:t>
    </dgm:pt>
    <dgm:pt modelId="{5DE4DBBF-74E7-4A3B-A72D-9DAE9E7559EE}">
      <dgm:prSet phldrT="[Text]"/>
      <dgm:spPr/>
      <dgm:t>
        <a:bodyPr/>
        <a:lstStyle/>
        <a:p>
          <a:r>
            <a:rPr lang="en-US" dirty="0" smtClean="0"/>
            <a:t>Cursors </a:t>
          </a:r>
          <a:endParaRPr lang="en-US" dirty="0"/>
        </a:p>
      </dgm:t>
    </dgm:pt>
    <dgm:pt modelId="{947E4789-C005-4E1B-9597-A2F286930AEE}" type="parTrans" cxnId="{52238CC7-B035-4EDC-9E45-40642EB72C67}">
      <dgm:prSet/>
      <dgm:spPr/>
      <dgm:t>
        <a:bodyPr/>
        <a:lstStyle/>
        <a:p>
          <a:endParaRPr lang="en-US"/>
        </a:p>
      </dgm:t>
    </dgm:pt>
    <dgm:pt modelId="{46EAF0C0-F820-47E2-9817-1C45BDD0D43C}" type="sibTrans" cxnId="{52238CC7-B035-4EDC-9E45-40642EB72C67}">
      <dgm:prSet/>
      <dgm:spPr/>
      <dgm:t>
        <a:bodyPr/>
        <a:lstStyle/>
        <a:p>
          <a:endParaRPr lang="en-US"/>
        </a:p>
      </dgm:t>
    </dgm:pt>
    <dgm:pt modelId="{3741B2CC-7CD9-4570-B2C0-8DDB5FA083AC}" type="pres">
      <dgm:prSet presAssocID="{4BA5BD87-38FE-41E9-B9A9-21363665BA15}" presName="linear" presStyleCnt="0">
        <dgm:presLayoutVars>
          <dgm:animLvl val="lvl"/>
          <dgm:resizeHandles val="exact"/>
        </dgm:presLayoutVars>
      </dgm:prSet>
      <dgm:spPr/>
      <dgm:t>
        <a:bodyPr/>
        <a:lstStyle/>
        <a:p>
          <a:endParaRPr lang="en-US"/>
        </a:p>
      </dgm:t>
    </dgm:pt>
    <dgm:pt modelId="{D9ADA340-3BD4-47D5-A696-83449005329B}" type="pres">
      <dgm:prSet presAssocID="{4D0BE68C-6EA0-4220-ADEE-D28B6FE63BC8}" presName="parentText" presStyleLbl="node1" presStyleIdx="0" presStyleCnt="7">
        <dgm:presLayoutVars>
          <dgm:chMax val="0"/>
          <dgm:bulletEnabled val="1"/>
        </dgm:presLayoutVars>
      </dgm:prSet>
      <dgm:spPr/>
      <dgm:t>
        <a:bodyPr/>
        <a:lstStyle/>
        <a:p>
          <a:endParaRPr lang="en-US"/>
        </a:p>
      </dgm:t>
    </dgm:pt>
    <dgm:pt modelId="{E35F2AA4-3711-426C-9E31-CADB9406292F}" type="pres">
      <dgm:prSet presAssocID="{00662A4E-4D4B-46BA-B415-E20DEE88E48E}" presName="spacer" presStyleCnt="0"/>
      <dgm:spPr/>
    </dgm:pt>
    <dgm:pt modelId="{8289AF67-C8DE-475C-A974-55A072D277AE}" type="pres">
      <dgm:prSet presAssocID="{8F15C91C-127D-437D-9B12-480DE8E0F223}" presName="parentText" presStyleLbl="node1" presStyleIdx="1" presStyleCnt="7">
        <dgm:presLayoutVars>
          <dgm:chMax val="0"/>
          <dgm:bulletEnabled val="1"/>
        </dgm:presLayoutVars>
      </dgm:prSet>
      <dgm:spPr/>
      <dgm:t>
        <a:bodyPr/>
        <a:lstStyle/>
        <a:p>
          <a:endParaRPr lang="en-US"/>
        </a:p>
      </dgm:t>
    </dgm:pt>
    <dgm:pt modelId="{33F0D26D-A0E4-40C7-AC5B-6A243E067832}" type="pres">
      <dgm:prSet presAssocID="{2E677E6D-E4C0-4DA5-917C-55BC06DC9811}" presName="spacer" presStyleCnt="0"/>
      <dgm:spPr/>
    </dgm:pt>
    <dgm:pt modelId="{50D04EC6-C381-4262-925B-EAF159FC30C2}" type="pres">
      <dgm:prSet presAssocID="{0F69AC30-E9F7-4C8A-AC98-398A867DCB28}" presName="parentText" presStyleLbl="node1" presStyleIdx="2" presStyleCnt="7">
        <dgm:presLayoutVars>
          <dgm:chMax val="0"/>
          <dgm:bulletEnabled val="1"/>
        </dgm:presLayoutVars>
      </dgm:prSet>
      <dgm:spPr/>
      <dgm:t>
        <a:bodyPr/>
        <a:lstStyle/>
        <a:p>
          <a:endParaRPr lang="en-US"/>
        </a:p>
      </dgm:t>
    </dgm:pt>
    <dgm:pt modelId="{D230C414-2EB6-47B0-92EC-AEEBB0D0D84A}" type="pres">
      <dgm:prSet presAssocID="{CE803F04-CC21-4971-94A7-B349C41E1F97}" presName="spacer" presStyleCnt="0"/>
      <dgm:spPr/>
    </dgm:pt>
    <dgm:pt modelId="{6897A1E9-F16E-4889-AB52-D24B2C4CFB16}" type="pres">
      <dgm:prSet presAssocID="{24663FB5-186B-48ED-B513-1140FC2553CD}" presName="parentText" presStyleLbl="node1" presStyleIdx="3" presStyleCnt="7">
        <dgm:presLayoutVars>
          <dgm:chMax val="0"/>
          <dgm:bulletEnabled val="1"/>
        </dgm:presLayoutVars>
      </dgm:prSet>
      <dgm:spPr/>
      <dgm:t>
        <a:bodyPr/>
        <a:lstStyle/>
        <a:p>
          <a:endParaRPr lang="en-US"/>
        </a:p>
      </dgm:t>
    </dgm:pt>
    <dgm:pt modelId="{65D62269-E58B-45C8-BE79-42D620216FDF}" type="pres">
      <dgm:prSet presAssocID="{B864E916-A2EA-43AE-9931-71176E6F6440}" presName="spacer" presStyleCnt="0"/>
      <dgm:spPr/>
    </dgm:pt>
    <dgm:pt modelId="{9EB5342D-B238-4EEC-A0D8-4737260EB346}" type="pres">
      <dgm:prSet presAssocID="{79F13907-561D-463C-A0BA-7DC68B7A2643}" presName="parentText" presStyleLbl="node1" presStyleIdx="4" presStyleCnt="7">
        <dgm:presLayoutVars>
          <dgm:chMax val="0"/>
          <dgm:bulletEnabled val="1"/>
        </dgm:presLayoutVars>
      </dgm:prSet>
      <dgm:spPr/>
      <dgm:t>
        <a:bodyPr/>
        <a:lstStyle/>
        <a:p>
          <a:endParaRPr lang="en-US"/>
        </a:p>
      </dgm:t>
    </dgm:pt>
    <dgm:pt modelId="{E4671E5A-E947-43C0-886E-670FBDD3C8E8}" type="pres">
      <dgm:prSet presAssocID="{D8806182-2D93-4B26-8A2C-3974F58490E8}" presName="spacer" presStyleCnt="0"/>
      <dgm:spPr/>
    </dgm:pt>
    <dgm:pt modelId="{41F9E263-468E-4745-A7F8-1FEA1929881D}" type="pres">
      <dgm:prSet presAssocID="{1E8FA13D-CEB2-4710-A97D-D2DF50DA94CA}" presName="parentText" presStyleLbl="node1" presStyleIdx="5" presStyleCnt="7">
        <dgm:presLayoutVars>
          <dgm:chMax val="0"/>
          <dgm:bulletEnabled val="1"/>
        </dgm:presLayoutVars>
      </dgm:prSet>
      <dgm:spPr/>
      <dgm:t>
        <a:bodyPr/>
        <a:lstStyle/>
        <a:p>
          <a:endParaRPr lang="en-US"/>
        </a:p>
      </dgm:t>
    </dgm:pt>
    <dgm:pt modelId="{AA26338E-F189-4586-ACD3-94485989650F}" type="pres">
      <dgm:prSet presAssocID="{37AAB3DF-0E6B-4E4E-BA83-4743692330F2}" presName="spacer" presStyleCnt="0"/>
      <dgm:spPr/>
    </dgm:pt>
    <dgm:pt modelId="{80223ACB-357F-4B41-9D36-ACCA98D89392}" type="pres">
      <dgm:prSet presAssocID="{5DE4DBBF-74E7-4A3B-A72D-9DAE9E7559EE}" presName="parentText" presStyleLbl="node1" presStyleIdx="6" presStyleCnt="7">
        <dgm:presLayoutVars>
          <dgm:chMax val="0"/>
          <dgm:bulletEnabled val="1"/>
        </dgm:presLayoutVars>
      </dgm:prSet>
      <dgm:spPr/>
      <dgm:t>
        <a:bodyPr/>
        <a:lstStyle/>
        <a:p>
          <a:endParaRPr lang="en-US"/>
        </a:p>
      </dgm:t>
    </dgm:pt>
  </dgm:ptLst>
  <dgm:cxnLst>
    <dgm:cxn modelId="{0FCC75EA-35A1-456C-9D22-8496E2C2DE80}" srcId="{4BA5BD87-38FE-41E9-B9A9-21363665BA15}" destId="{8F15C91C-127D-437D-9B12-480DE8E0F223}" srcOrd="1" destOrd="0" parTransId="{5757A3E8-E589-4D96-AD49-3657B2A874CA}" sibTransId="{2E677E6D-E4C0-4DA5-917C-55BC06DC9811}"/>
    <dgm:cxn modelId="{55063283-A8AB-4549-933B-02905BDA6EC4}" srcId="{4BA5BD87-38FE-41E9-B9A9-21363665BA15}" destId="{24663FB5-186B-48ED-B513-1140FC2553CD}" srcOrd="3" destOrd="0" parTransId="{5DBE311D-8E3A-4D88-A957-6925B800ADE2}" sibTransId="{B864E916-A2EA-43AE-9931-71176E6F6440}"/>
    <dgm:cxn modelId="{C79BA9A1-6B92-40D4-BAC9-C0E1C23483AC}" type="presOf" srcId="{0F69AC30-E9F7-4C8A-AC98-398A867DCB28}" destId="{50D04EC6-C381-4262-925B-EAF159FC30C2}" srcOrd="0" destOrd="0" presId="urn:microsoft.com/office/officeart/2005/8/layout/vList2"/>
    <dgm:cxn modelId="{B509EEE9-790B-4CE6-9540-6A0A399B0C2A}" srcId="{4BA5BD87-38FE-41E9-B9A9-21363665BA15}" destId="{1E8FA13D-CEB2-4710-A97D-D2DF50DA94CA}" srcOrd="5" destOrd="0" parTransId="{93C3E2E9-CC97-43DF-B3D0-35C733736B62}" sibTransId="{37AAB3DF-0E6B-4E4E-BA83-4743692330F2}"/>
    <dgm:cxn modelId="{AACC8B4D-DE80-4D70-8157-B7F9122B6FCA}" srcId="{4BA5BD87-38FE-41E9-B9A9-21363665BA15}" destId="{79F13907-561D-463C-A0BA-7DC68B7A2643}" srcOrd="4" destOrd="0" parTransId="{D759D36B-4405-47BA-A5B0-DA6F5F1B0898}" sibTransId="{D8806182-2D93-4B26-8A2C-3974F58490E8}"/>
    <dgm:cxn modelId="{2DF4A3A9-E306-4BF0-AE4E-606875526C25}" type="presOf" srcId="{5DE4DBBF-74E7-4A3B-A72D-9DAE9E7559EE}" destId="{80223ACB-357F-4B41-9D36-ACCA98D89392}" srcOrd="0" destOrd="0" presId="urn:microsoft.com/office/officeart/2005/8/layout/vList2"/>
    <dgm:cxn modelId="{633F68F4-3817-4B7C-A952-C01C2611AED8}" type="presOf" srcId="{1E8FA13D-CEB2-4710-A97D-D2DF50DA94CA}" destId="{41F9E263-468E-4745-A7F8-1FEA1929881D}" srcOrd="0" destOrd="0" presId="urn:microsoft.com/office/officeart/2005/8/layout/vList2"/>
    <dgm:cxn modelId="{B98887AC-A021-4E53-9A76-E0D5BC39FA7B}" srcId="{4BA5BD87-38FE-41E9-B9A9-21363665BA15}" destId="{4D0BE68C-6EA0-4220-ADEE-D28B6FE63BC8}" srcOrd="0" destOrd="0" parTransId="{7146A096-353E-41FC-9461-C61A160CD95F}" sibTransId="{00662A4E-4D4B-46BA-B415-E20DEE88E48E}"/>
    <dgm:cxn modelId="{52238CC7-B035-4EDC-9E45-40642EB72C67}" srcId="{4BA5BD87-38FE-41E9-B9A9-21363665BA15}" destId="{5DE4DBBF-74E7-4A3B-A72D-9DAE9E7559EE}" srcOrd="6" destOrd="0" parTransId="{947E4789-C005-4E1B-9597-A2F286930AEE}" sibTransId="{46EAF0C0-F820-47E2-9817-1C45BDD0D43C}"/>
    <dgm:cxn modelId="{877F6CC6-428C-4FFE-A558-0235514310F7}" type="presOf" srcId="{4BA5BD87-38FE-41E9-B9A9-21363665BA15}" destId="{3741B2CC-7CD9-4570-B2C0-8DDB5FA083AC}" srcOrd="0" destOrd="0" presId="urn:microsoft.com/office/officeart/2005/8/layout/vList2"/>
    <dgm:cxn modelId="{F7994FC9-E594-42D7-8B32-AB2537A36FD3}" type="presOf" srcId="{24663FB5-186B-48ED-B513-1140FC2553CD}" destId="{6897A1E9-F16E-4889-AB52-D24B2C4CFB16}" srcOrd="0" destOrd="0" presId="urn:microsoft.com/office/officeart/2005/8/layout/vList2"/>
    <dgm:cxn modelId="{596A0814-6768-4852-99FF-7C3CDA1F9E0E}" type="presOf" srcId="{8F15C91C-127D-437D-9B12-480DE8E0F223}" destId="{8289AF67-C8DE-475C-A974-55A072D277AE}" srcOrd="0" destOrd="0" presId="urn:microsoft.com/office/officeart/2005/8/layout/vList2"/>
    <dgm:cxn modelId="{A1AA1783-9E2D-4760-8D09-5F7081ABE8DC}" srcId="{4BA5BD87-38FE-41E9-B9A9-21363665BA15}" destId="{0F69AC30-E9F7-4C8A-AC98-398A867DCB28}" srcOrd="2" destOrd="0" parTransId="{71FAC065-00BC-4687-A9ED-7D3454699DF5}" sibTransId="{CE803F04-CC21-4971-94A7-B349C41E1F97}"/>
    <dgm:cxn modelId="{1382C2BB-8105-447F-BA32-A318B32F7567}" type="presOf" srcId="{4D0BE68C-6EA0-4220-ADEE-D28B6FE63BC8}" destId="{D9ADA340-3BD4-47D5-A696-83449005329B}" srcOrd="0" destOrd="0" presId="urn:microsoft.com/office/officeart/2005/8/layout/vList2"/>
    <dgm:cxn modelId="{CA252612-86D0-4CC0-8B66-72343CA2F5DE}" type="presOf" srcId="{79F13907-561D-463C-A0BA-7DC68B7A2643}" destId="{9EB5342D-B238-4EEC-A0D8-4737260EB346}" srcOrd="0" destOrd="0" presId="urn:microsoft.com/office/officeart/2005/8/layout/vList2"/>
    <dgm:cxn modelId="{E5B0EB39-556D-404A-9F23-D04C7AD7D832}" type="presParOf" srcId="{3741B2CC-7CD9-4570-B2C0-8DDB5FA083AC}" destId="{D9ADA340-3BD4-47D5-A696-83449005329B}" srcOrd="0" destOrd="0" presId="urn:microsoft.com/office/officeart/2005/8/layout/vList2"/>
    <dgm:cxn modelId="{AAD7FE5B-E231-4DE8-9BDC-5101ACE386FF}" type="presParOf" srcId="{3741B2CC-7CD9-4570-B2C0-8DDB5FA083AC}" destId="{E35F2AA4-3711-426C-9E31-CADB9406292F}" srcOrd="1" destOrd="0" presId="urn:microsoft.com/office/officeart/2005/8/layout/vList2"/>
    <dgm:cxn modelId="{3BE4B2B0-167B-43FD-84A5-5B9BE32CB4A7}" type="presParOf" srcId="{3741B2CC-7CD9-4570-B2C0-8DDB5FA083AC}" destId="{8289AF67-C8DE-475C-A974-55A072D277AE}" srcOrd="2" destOrd="0" presId="urn:microsoft.com/office/officeart/2005/8/layout/vList2"/>
    <dgm:cxn modelId="{7F5B4976-980B-44CC-A5CE-4A32877A8071}" type="presParOf" srcId="{3741B2CC-7CD9-4570-B2C0-8DDB5FA083AC}" destId="{33F0D26D-A0E4-40C7-AC5B-6A243E067832}" srcOrd="3" destOrd="0" presId="urn:microsoft.com/office/officeart/2005/8/layout/vList2"/>
    <dgm:cxn modelId="{C5180831-D98C-4AF0-92EF-608B066DD457}" type="presParOf" srcId="{3741B2CC-7CD9-4570-B2C0-8DDB5FA083AC}" destId="{50D04EC6-C381-4262-925B-EAF159FC30C2}" srcOrd="4" destOrd="0" presId="urn:microsoft.com/office/officeart/2005/8/layout/vList2"/>
    <dgm:cxn modelId="{17273637-7709-4458-BB73-6CC6D0CCBC12}" type="presParOf" srcId="{3741B2CC-7CD9-4570-B2C0-8DDB5FA083AC}" destId="{D230C414-2EB6-47B0-92EC-AEEBB0D0D84A}" srcOrd="5" destOrd="0" presId="urn:microsoft.com/office/officeart/2005/8/layout/vList2"/>
    <dgm:cxn modelId="{E0D34917-98A4-4F58-81CC-BA53CA90357A}" type="presParOf" srcId="{3741B2CC-7CD9-4570-B2C0-8DDB5FA083AC}" destId="{6897A1E9-F16E-4889-AB52-D24B2C4CFB16}" srcOrd="6" destOrd="0" presId="urn:microsoft.com/office/officeart/2005/8/layout/vList2"/>
    <dgm:cxn modelId="{D18C1CD4-29F3-4067-A04F-0CBC10673A6D}" type="presParOf" srcId="{3741B2CC-7CD9-4570-B2C0-8DDB5FA083AC}" destId="{65D62269-E58B-45C8-BE79-42D620216FDF}" srcOrd="7" destOrd="0" presId="urn:microsoft.com/office/officeart/2005/8/layout/vList2"/>
    <dgm:cxn modelId="{39C05A83-C1C9-4E64-9B12-0DF75B460A29}" type="presParOf" srcId="{3741B2CC-7CD9-4570-B2C0-8DDB5FA083AC}" destId="{9EB5342D-B238-4EEC-A0D8-4737260EB346}" srcOrd="8" destOrd="0" presId="urn:microsoft.com/office/officeart/2005/8/layout/vList2"/>
    <dgm:cxn modelId="{F85DEB8E-EBF0-49BF-8357-94B0EFA67114}" type="presParOf" srcId="{3741B2CC-7CD9-4570-B2C0-8DDB5FA083AC}" destId="{E4671E5A-E947-43C0-886E-670FBDD3C8E8}" srcOrd="9" destOrd="0" presId="urn:microsoft.com/office/officeart/2005/8/layout/vList2"/>
    <dgm:cxn modelId="{138FD64E-344A-4A2A-A392-DA4A439C9AE8}" type="presParOf" srcId="{3741B2CC-7CD9-4570-B2C0-8DDB5FA083AC}" destId="{41F9E263-468E-4745-A7F8-1FEA1929881D}" srcOrd="10" destOrd="0" presId="urn:microsoft.com/office/officeart/2005/8/layout/vList2"/>
    <dgm:cxn modelId="{BFD2338B-047D-489C-9F71-0837A2FF9856}" type="presParOf" srcId="{3741B2CC-7CD9-4570-B2C0-8DDB5FA083AC}" destId="{AA26338E-F189-4586-ACD3-94485989650F}" srcOrd="11" destOrd="0" presId="urn:microsoft.com/office/officeart/2005/8/layout/vList2"/>
    <dgm:cxn modelId="{0E727D32-2CF1-4E40-BCCC-AD851117EEF5}" type="presParOf" srcId="{3741B2CC-7CD9-4570-B2C0-8DDB5FA083AC}" destId="{80223ACB-357F-4B41-9D36-ACCA98D89392}" srcOrd="1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8F582AC-45AF-489A-B3FD-6B40B940C30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BB38718-4061-4A54-AF77-BBB7469DFC82}">
      <dgm:prSet phldrT="[Text]" custT="1"/>
      <dgm:spPr/>
      <dgm:t>
        <a:bodyPr/>
        <a:lstStyle/>
        <a:p>
          <a:r>
            <a:rPr lang="en-US" sz="2000" dirty="0" smtClean="0">
              <a:solidFill>
                <a:srgbClr val="000000"/>
              </a:solidFill>
            </a:rPr>
            <a:t>MongoDB’s </a:t>
          </a:r>
          <a:r>
            <a:rPr lang="en-US" sz="2000" b="1" dirty="0" smtClean="0">
              <a:solidFill>
                <a:srgbClr val="000000"/>
              </a:solidFill>
            </a:rPr>
            <a:t>remove()</a:t>
          </a:r>
          <a:r>
            <a:rPr lang="en-US" sz="2000" dirty="0" smtClean="0">
              <a:solidFill>
                <a:srgbClr val="000000"/>
              </a:solidFill>
            </a:rPr>
            <a:t> method is used to remove document from the collection. remove() method accepts two parameters. One is deletion criteria and second is justOne flag.</a:t>
          </a:r>
          <a:endParaRPr lang="en-US" sz="2000" dirty="0">
            <a:solidFill>
              <a:srgbClr val="000000"/>
            </a:solidFill>
          </a:endParaRPr>
        </a:p>
      </dgm:t>
    </dgm:pt>
    <dgm:pt modelId="{C51ED921-2F7C-446E-A29C-9DD1421DECF2}" type="parTrans" cxnId="{9BDEBAE7-6951-4EBC-8F46-93E6CA83883F}">
      <dgm:prSet/>
      <dgm:spPr/>
      <dgm:t>
        <a:bodyPr/>
        <a:lstStyle/>
        <a:p>
          <a:endParaRPr lang="en-US" sz="2000">
            <a:solidFill>
              <a:srgbClr val="000000"/>
            </a:solidFill>
          </a:endParaRPr>
        </a:p>
      </dgm:t>
    </dgm:pt>
    <dgm:pt modelId="{E6D89FF0-619E-4476-BA0B-636707A0B367}" type="sibTrans" cxnId="{9BDEBAE7-6951-4EBC-8F46-93E6CA83883F}">
      <dgm:prSet/>
      <dgm:spPr/>
      <dgm:t>
        <a:bodyPr/>
        <a:lstStyle/>
        <a:p>
          <a:endParaRPr lang="en-US" sz="2000">
            <a:solidFill>
              <a:srgbClr val="000000"/>
            </a:solidFill>
          </a:endParaRPr>
        </a:p>
      </dgm:t>
    </dgm:pt>
    <dgm:pt modelId="{E2AAD3E6-CFE8-4975-A9BD-5832C7E1BF19}">
      <dgm:prSet phldrT="[Text]" custT="1"/>
      <dgm:spPr/>
      <dgm:t>
        <a:bodyPr/>
        <a:lstStyle/>
        <a:p>
          <a:r>
            <a:rPr lang="en-US" sz="2000" b="1" dirty="0" smtClean="0">
              <a:solidFill>
                <a:srgbClr val="000000"/>
              </a:solidFill>
            </a:rPr>
            <a:t>Deletion criteria:</a:t>
          </a:r>
          <a:r>
            <a:rPr lang="en-US" sz="2000" dirty="0" smtClean="0">
              <a:solidFill>
                <a:srgbClr val="000000"/>
              </a:solidFill>
            </a:rPr>
            <a:t> (Optional) deletion criteria according to documents will be removed.</a:t>
          </a:r>
          <a:endParaRPr lang="en-US" sz="2000" dirty="0">
            <a:solidFill>
              <a:srgbClr val="000000"/>
            </a:solidFill>
          </a:endParaRPr>
        </a:p>
      </dgm:t>
    </dgm:pt>
    <dgm:pt modelId="{48CAFDE0-DFF8-414D-A9BE-1BF8CACE4765}" type="parTrans" cxnId="{E852CCBF-B897-4619-88AF-7258D979C9B3}">
      <dgm:prSet/>
      <dgm:spPr/>
      <dgm:t>
        <a:bodyPr/>
        <a:lstStyle/>
        <a:p>
          <a:endParaRPr lang="en-US" sz="2000">
            <a:solidFill>
              <a:srgbClr val="000000"/>
            </a:solidFill>
          </a:endParaRPr>
        </a:p>
      </dgm:t>
    </dgm:pt>
    <dgm:pt modelId="{F3D21F45-4F8E-4C98-974D-83D625A57023}" type="sibTrans" cxnId="{E852CCBF-B897-4619-88AF-7258D979C9B3}">
      <dgm:prSet/>
      <dgm:spPr/>
      <dgm:t>
        <a:bodyPr/>
        <a:lstStyle/>
        <a:p>
          <a:endParaRPr lang="en-US" sz="2000">
            <a:solidFill>
              <a:srgbClr val="000000"/>
            </a:solidFill>
          </a:endParaRPr>
        </a:p>
      </dgm:t>
    </dgm:pt>
    <dgm:pt modelId="{3961DB9D-F784-4C9B-9644-1D200A3A63B8}">
      <dgm:prSet custT="1"/>
      <dgm:spPr/>
      <dgm:t>
        <a:bodyPr/>
        <a:lstStyle/>
        <a:p>
          <a:r>
            <a:rPr lang="en-US" sz="2000" dirty="0" smtClean="0">
              <a:solidFill>
                <a:srgbClr val="000000"/>
              </a:solidFill>
            </a:rPr>
            <a:t>db.collection_name.remove(DELETION_CRITERIA)</a:t>
          </a:r>
          <a:endParaRPr lang="en-US" sz="2000" dirty="0">
            <a:solidFill>
              <a:srgbClr val="000000"/>
            </a:solidFill>
          </a:endParaRPr>
        </a:p>
      </dgm:t>
    </dgm:pt>
    <dgm:pt modelId="{52830F8F-F298-4364-9292-6694B62BF2E8}" type="parTrans" cxnId="{6AF35B19-9541-4771-9C88-23EB4CF57D3C}">
      <dgm:prSet/>
      <dgm:spPr/>
      <dgm:t>
        <a:bodyPr/>
        <a:lstStyle/>
        <a:p>
          <a:endParaRPr lang="en-US" sz="2000">
            <a:solidFill>
              <a:srgbClr val="000000"/>
            </a:solidFill>
          </a:endParaRPr>
        </a:p>
      </dgm:t>
    </dgm:pt>
    <dgm:pt modelId="{663FE455-7FBC-4139-B29B-EEA35A8C9D1F}" type="sibTrans" cxnId="{6AF35B19-9541-4771-9C88-23EB4CF57D3C}">
      <dgm:prSet/>
      <dgm:spPr/>
      <dgm:t>
        <a:bodyPr/>
        <a:lstStyle/>
        <a:p>
          <a:endParaRPr lang="en-US" sz="2000">
            <a:solidFill>
              <a:srgbClr val="000000"/>
            </a:solidFill>
          </a:endParaRPr>
        </a:p>
      </dgm:t>
    </dgm:pt>
    <dgm:pt modelId="{106C5828-7C70-44E2-B14D-3CFF303B49ED}">
      <dgm:prSet custT="1"/>
      <dgm:spPr/>
      <dgm:t>
        <a:bodyPr/>
        <a:lstStyle/>
        <a:p>
          <a:r>
            <a:rPr lang="en-US" sz="2000" b="1" dirty="0" smtClean="0">
              <a:solidFill>
                <a:srgbClr val="000000"/>
              </a:solidFill>
            </a:rPr>
            <a:t>justOne:</a:t>
          </a:r>
          <a:r>
            <a:rPr lang="en-US" sz="2000" dirty="0" smtClean="0">
              <a:solidFill>
                <a:srgbClr val="000000"/>
              </a:solidFill>
            </a:rPr>
            <a:t> (Optional) if set to true or 1, then remove only one document. </a:t>
          </a:r>
        </a:p>
      </dgm:t>
    </dgm:pt>
    <dgm:pt modelId="{817383C7-F353-41EE-A6C1-B37C404F189D}" type="sibTrans" cxnId="{74D922D8-FE94-49C4-B8F8-325F8D2D08AA}">
      <dgm:prSet/>
      <dgm:spPr/>
      <dgm:t>
        <a:bodyPr/>
        <a:lstStyle/>
        <a:p>
          <a:endParaRPr lang="en-US" sz="2000">
            <a:solidFill>
              <a:srgbClr val="000000"/>
            </a:solidFill>
          </a:endParaRPr>
        </a:p>
      </dgm:t>
    </dgm:pt>
    <dgm:pt modelId="{C893FFAE-022E-4122-8E8D-2D4F6E4719C3}" type="parTrans" cxnId="{74D922D8-FE94-49C4-B8F8-325F8D2D08AA}">
      <dgm:prSet/>
      <dgm:spPr/>
      <dgm:t>
        <a:bodyPr/>
        <a:lstStyle/>
        <a:p>
          <a:endParaRPr lang="en-US" sz="2000">
            <a:solidFill>
              <a:srgbClr val="000000"/>
            </a:solidFill>
          </a:endParaRPr>
        </a:p>
      </dgm:t>
    </dgm:pt>
    <dgm:pt modelId="{3D82718C-1B68-4B73-8727-190BD40C4B20}">
      <dgm:prSet custT="1"/>
      <dgm:spPr/>
      <dgm:t>
        <a:bodyPr/>
        <a:lstStyle/>
        <a:p>
          <a:r>
            <a:rPr lang="en-US" sz="2000" dirty="0" smtClean="0">
              <a:solidFill>
                <a:srgbClr val="000000"/>
              </a:solidFill>
            </a:rPr>
            <a:t>db.employees.remove({firstname:"tanmaya"})</a:t>
          </a:r>
        </a:p>
      </dgm:t>
    </dgm:pt>
    <dgm:pt modelId="{3F7FB41C-132B-403E-ADD2-9B2CEC2FD5D1}" type="parTrans" cxnId="{9394A206-7C41-4795-B79E-1712F9500AE1}">
      <dgm:prSet/>
      <dgm:spPr/>
      <dgm:t>
        <a:bodyPr/>
        <a:lstStyle/>
        <a:p>
          <a:endParaRPr lang="en-US" sz="2000">
            <a:solidFill>
              <a:srgbClr val="000000"/>
            </a:solidFill>
          </a:endParaRPr>
        </a:p>
      </dgm:t>
    </dgm:pt>
    <dgm:pt modelId="{A69156FD-A627-4B55-A7EC-57F4F69F182B}" type="sibTrans" cxnId="{9394A206-7C41-4795-B79E-1712F9500AE1}">
      <dgm:prSet/>
      <dgm:spPr/>
      <dgm:t>
        <a:bodyPr/>
        <a:lstStyle/>
        <a:p>
          <a:endParaRPr lang="en-US" sz="2000">
            <a:solidFill>
              <a:srgbClr val="000000"/>
            </a:solidFill>
          </a:endParaRPr>
        </a:p>
      </dgm:t>
    </dgm:pt>
    <dgm:pt modelId="{4A8B569E-9A9E-404B-BC08-FF632EF48734}" type="pres">
      <dgm:prSet presAssocID="{28F582AC-45AF-489A-B3FD-6B40B940C30D}" presName="linear" presStyleCnt="0">
        <dgm:presLayoutVars>
          <dgm:animLvl val="lvl"/>
          <dgm:resizeHandles val="exact"/>
        </dgm:presLayoutVars>
      </dgm:prSet>
      <dgm:spPr/>
      <dgm:t>
        <a:bodyPr/>
        <a:lstStyle/>
        <a:p>
          <a:endParaRPr lang="en-US"/>
        </a:p>
      </dgm:t>
    </dgm:pt>
    <dgm:pt modelId="{110148B3-4970-4577-9043-E95CFCDB3D6A}" type="pres">
      <dgm:prSet presAssocID="{BBB38718-4061-4A54-AF77-BBB7469DFC82}" presName="parentText" presStyleLbl="node1" presStyleIdx="0" presStyleCnt="3">
        <dgm:presLayoutVars>
          <dgm:chMax val="0"/>
          <dgm:bulletEnabled val="1"/>
        </dgm:presLayoutVars>
      </dgm:prSet>
      <dgm:spPr/>
      <dgm:t>
        <a:bodyPr/>
        <a:lstStyle/>
        <a:p>
          <a:endParaRPr lang="en-US"/>
        </a:p>
      </dgm:t>
    </dgm:pt>
    <dgm:pt modelId="{697EFE85-52EF-401E-8D1B-E48A72A1E47E}" type="pres">
      <dgm:prSet presAssocID="{E6D89FF0-619E-4476-BA0B-636707A0B367}" presName="spacer" presStyleCnt="0"/>
      <dgm:spPr/>
    </dgm:pt>
    <dgm:pt modelId="{B9052F1E-CC25-4B7B-8DDA-50E3196D2BD9}" type="pres">
      <dgm:prSet presAssocID="{E2AAD3E6-CFE8-4975-A9BD-5832C7E1BF19}" presName="parentText" presStyleLbl="node1" presStyleIdx="1" presStyleCnt="3">
        <dgm:presLayoutVars>
          <dgm:chMax val="0"/>
          <dgm:bulletEnabled val="1"/>
        </dgm:presLayoutVars>
      </dgm:prSet>
      <dgm:spPr/>
      <dgm:t>
        <a:bodyPr/>
        <a:lstStyle/>
        <a:p>
          <a:endParaRPr lang="en-US"/>
        </a:p>
      </dgm:t>
    </dgm:pt>
    <dgm:pt modelId="{EF296B6F-A9DA-4D9F-8A47-7F47280AE699}" type="pres">
      <dgm:prSet presAssocID="{F3D21F45-4F8E-4C98-974D-83D625A57023}" presName="spacer" presStyleCnt="0"/>
      <dgm:spPr/>
    </dgm:pt>
    <dgm:pt modelId="{7D7940C0-4AF3-443F-A931-E396C82CC06F}" type="pres">
      <dgm:prSet presAssocID="{106C5828-7C70-44E2-B14D-3CFF303B49ED}" presName="parentText" presStyleLbl="node1" presStyleIdx="2" presStyleCnt="3" custLinFactNeighborX="-3009">
        <dgm:presLayoutVars>
          <dgm:chMax val="0"/>
          <dgm:bulletEnabled val="1"/>
        </dgm:presLayoutVars>
      </dgm:prSet>
      <dgm:spPr/>
      <dgm:t>
        <a:bodyPr/>
        <a:lstStyle/>
        <a:p>
          <a:endParaRPr lang="en-US"/>
        </a:p>
      </dgm:t>
    </dgm:pt>
    <dgm:pt modelId="{7B788927-0461-4722-A0B7-37DCE15F862B}" type="pres">
      <dgm:prSet presAssocID="{106C5828-7C70-44E2-B14D-3CFF303B49ED}" presName="childText" presStyleLbl="revTx" presStyleIdx="0" presStyleCnt="1">
        <dgm:presLayoutVars>
          <dgm:bulletEnabled val="1"/>
        </dgm:presLayoutVars>
      </dgm:prSet>
      <dgm:spPr/>
      <dgm:t>
        <a:bodyPr/>
        <a:lstStyle/>
        <a:p>
          <a:endParaRPr lang="en-US"/>
        </a:p>
      </dgm:t>
    </dgm:pt>
  </dgm:ptLst>
  <dgm:cxnLst>
    <dgm:cxn modelId="{B58EC71F-F9D3-4FFE-91F8-59464D2E5B70}" type="presOf" srcId="{106C5828-7C70-44E2-B14D-3CFF303B49ED}" destId="{7D7940C0-4AF3-443F-A931-E396C82CC06F}" srcOrd="0" destOrd="0" presId="urn:microsoft.com/office/officeart/2005/8/layout/vList2"/>
    <dgm:cxn modelId="{3C9A3097-7E24-43BD-A367-07BFA2526662}" type="presOf" srcId="{3D82718C-1B68-4B73-8727-190BD40C4B20}" destId="{7B788927-0461-4722-A0B7-37DCE15F862B}" srcOrd="0" destOrd="1" presId="urn:microsoft.com/office/officeart/2005/8/layout/vList2"/>
    <dgm:cxn modelId="{E852CCBF-B897-4619-88AF-7258D979C9B3}" srcId="{28F582AC-45AF-489A-B3FD-6B40B940C30D}" destId="{E2AAD3E6-CFE8-4975-A9BD-5832C7E1BF19}" srcOrd="1" destOrd="0" parTransId="{48CAFDE0-DFF8-414D-A9BE-1BF8CACE4765}" sibTransId="{F3D21F45-4F8E-4C98-974D-83D625A57023}"/>
    <dgm:cxn modelId="{9BDEBAE7-6951-4EBC-8F46-93E6CA83883F}" srcId="{28F582AC-45AF-489A-B3FD-6B40B940C30D}" destId="{BBB38718-4061-4A54-AF77-BBB7469DFC82}" srcOrd="0" destOrd="0" parTransId="{C51ED921-2F7C-446E-A29C-9DD1421DECF2}" sibTransId="{E6D89FF0-619E-4476-BA0B-636707A0B367}"/>
    <dgm:cxn modelId="{E22CFE23-7729-474B-8571-581E384D3A24}" type="presOf" srcId="{E2AAD3E6-CFE8-4975-A9BD-5832C7E1BF19}" destId="{B9052F1E-CC25-4B7B-8DDA-50E3196D2BD9}" srcOrd="0" destOrd="0" presId="urn:microsoft.com/office/officeart/2005/8/layout/vList2"/>
    <dgm:cxn modelId="{9394A206-7C41-4795-B79E-1712F9500AE1}" srcId="{106C5828-7C70-44E2-B14D-3CFF303B49ED}" destId="{3D82718C-1B68-4B73-8727-190BD40C4B20}" srcOrd="1" destOrd="0" parTransId="{3F7FB41C-132B-403E-ADD2-9B2CEC2FD5D1}" sibTransId="{A69156FD-A627-4B55-A7EC-57F4F69F182B}"/>
    <dgm:cxn modelId="{25F69255-29E9-4CEF-8029-7340784C2AE4}" type="presOf" srcId="{28F582AC-45AF-489A-B3FD-6B40B940C30D}" destId="{4A8B569E-9A9E-404B-BC08-FF632EF48734}" srcOrd="0" destOrd="0" presId="urn:microsoft.com/office/officeart/2005/8/layout/vList2"/>
    <dgm:cxn modelId="{74D922D8-FE94-49C4-B8F8-325F8D2D08AA}" srcId="{28F582AC-45AF-489A-B3FD-6B40B940C30D}" destId="{106C5828-7C70-44E2-B14D-3CFF303B49ED}" srcOrd="2" destOrd="0" parTransId="{C893FFAE-022E-4122-8E8D-2D4F6E4719C3}" sibTransId="{817383C7-F353-41EE-A6C1-B37C404F189D}"/>
    <dgm:cxn modelId="{6AF35B19-9541-4771-9C88-23EB4CF57D3C}" srcId="{106C5828-7C70-44E2-B14D-3CFF303B49ED}" destId="{3961DB9D-F784-4C9B-9644-1D200A3A63B8}" srcOrd="0" destOrd="0" parTransId="{52830F8F-F298-4364-9292-6694B62BF2E8}" sibTransId="{663FE455-7FBC-4139-B29B-EEA35A8C9D1F}"/>
    <dgm:cxn modelId="{19EBA084-C03B-4184-8957-19CF5CD9AE75}" type="presOf" srcId="{BBB38718-4061-4A54-AF77-BBB7469DFC82}" destId="{110148B3-4970-4577-9043-E95CFCDB3D6A}" srcOrd="0" destOrd="0" presId="urn:microsoft.com/office/officeart/2005/8/layout/vList2"/>
    <dgm:cxn modelId="{B28377FA-D43E-48E3-B58A-9054314EFBF4}" type="presOf" srcId="{3961DB9D-F784-4C9B-9644-1D200A3A63B8}" destId="{7B788927-0461-4722-A0B7-37DCE15F862B}" srcOrd="0" destOrd="0" presId="urn:microsoft.com/office/officeart/2005/8/layout/vList2"/>
    <dgm:cxn modelId="{65552724-20EE-478D-9DB9-EA37CCDC7624}" type="presParOf" srcId="{4A8B569E-9A9E-404B-BC08-FF632EF48734}" destId="{110148B3-4970-4577-9043-E95CFCDB3D6A}" srcOrd="0" destOrd="0" presId="urn:microsoft.com/office/officeart/2005/8/layout/vList2"/>
    <dgm:cxn modelId="{69972FC5-5B4B-4592-A093-4ACDDA424AF2}" type="presParOf" srcId="{4A8B569E-9A9E-404B-BC08-FF632EF48734}" destId="{697EFE85-52EF-401E-8D1B-E48A72A1E47E}" srcOrd="1" destOrd="0" presId="urn:microsoft.com/office/officeart/2005/8/layout/vList2"/>
    <dgm:cxn modelId="{128779E7-DE7E-4B4A-B9FD-7B9CE9F0E3F0}" type="presParOf" srcId="{4A8B569E-9A9E-404B-BC08-FF632EF48734}" destId="{B9052F1E-CC25-4B7B-8DDA-50E3196D2BD9}" srcOrd="2" destOrd="0" presId="urn:microsoft.com/office/officeart/2005/8/layout/vList2"/>
    <dgm:cxn modelId="{FB7E8056-8A84-4592-99FD-252EA1053399}" type="presParOf" srcId="{4A8B569E-9A9E-404B-BC08-FF632EF48734}" destId="{EF296B6F-A9DA-4D9F-8A47-7F47280AE699}" srcOrd="3" destOrd="0" presId="urn:microsoft.com/office/officeart/2005/8/layout/vList2"/>
    <dgm:cxn modelId="{875A93B5-AEB6-418B-8795-4335877FDD50}" type="presParOf" srcId="{4A8B569E-9A9E-404B-BC08-FF632EF48734}" destId="{7D7940C0-4AF3-443F-A931-E396C82CC06F}" srcOrd="4" destOrd="0" presId="urn:microsoft.com/office/officeart/2005/8/layout/vList2"/>
    <dgm:cxn modelId="{ACE53BA6-7CDF-4998-B99E-FAE617A8415E}" type="presParOf" srcId="{4A8B569E-9A9E-404B-BC08-FF632EF48734}" destId="{7B788927-0461-4722-A0B7-37DCE15F862B}"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If there are multiple records and you want to delete only first record, then set </a:t>
          </a:r>
          <a:r>
            <a:rPr lang="en-US" sz="2000" b="1" dirty="0" smtClean="0">
              <a:solidFill>
                <a:srgbClr val="000000"/>
              </a:solidFill>
            </a:rPr>
            <a:t>justOne</a:t>
          </a:r>
          <a:r>
            <a:rPr lang="en-US" sz="2000" dirty="0" smtClean="0">
              <a:solidFill>
                <a:srgbClr val="000000"/>
              </a:solidFill>
            </a:rPr>
            <a:t> parameter in </a:t>
          </a:r>
          <a:r>
            <a:rPr lang="en-US" sz="2000" b="1" dirty="0" smtClean="0">
              <a:solidFill>
                <a:srgbClr val="000000"/>
              </a:solidFill>
            </a:rPr>
            <a:t>remove()</a:t>
          </a:r>
          <a:r>
            <a:rPr lang="en-US" sz="2000" dirty="0" smtClean="0">
              <a:solidFill>
                <a:srgbClr val="000000"/>
              </a:solidFill>
            </a:rPr>
            <a:t>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2DF14136-82BE-47C4-AC8B-25B5EB1F4291}">
      <dgm:prSet custT="1"/>
      <dgm:spPr/>
      <dgm:t>
        <a:bodyPr/>
        <a:lstStyle/>
        <a:p>
          <a:r>
            <a:rPr lang="en-US" sz="2000" dirty="0" smtClean="0">
              <a:solidFill>
                <a:srgbClr val="000000"/>
              </a:solidFill>
            </a:rPr>
            <a:t>db.collection_name.remove(deletion_criteria,1) </a:t>
          </a:r>
        </a:p>
      </dgm:t>
    </dgm:pt>
    <dgm:pt modelId="{BD394143-7EE1-4BDC-9CE6-C550DCC9E0EE}" type="parTrans" cxnId="{D6EA4332-C8B4-4737-86C5-7FF90ABD631B}">
      <dgm:prSet/>
      <dgm:spPr/>
      <dgm:t>
        <a:bodyPr/>
        <a:lstStyle/>
        <a:p>
          <a:endParaRPr lang="en-US" sz="2000">
            <a:solidFill>
              <a:srgbClr val="000000"/>
            </a:solidFill>
          </a:endParaRPr>
        </a:p>
      </dgm:t>
    </dgm:pt>
    <dgm:pt modelId="{B4542743-0637-4109-8DA3-8C31F8FF7EB8}" type="sibTrans" cxnId="{D6EA4332-C8B4-4737-86C5-7FF90ABD631B}">
      <dgm:prSet/>
      <dgm:spPr/>
      <dgm:t>
        <a:bodyPr/>
        <a:lstStyle/>
        <a:p>
          <a:endParaRPr lang="en-US" sz="2000">
            <a:solidFill>
              <a:srgbClr val="000000"/>
            </a:solidFill>
          </a:endParaRPr>
        </a:p>
      </dgm:t>
    </dgm:pt>
    <dgm:pt modelId="{74F6F76A-5319-4ED9-818D-726DD070C526}">
      <dgm:prSet custT="1"/>
      <dgm:spPr/>
      <dgm:t>
        <a:bodyPr/>
        <a:lstStyle/>
        <a:p>
          <a:r>
            <a:rPr lang="en-US" sz="2000" b="1" dirty="0" smtClean="0">
              <a:solidFill>
                <a:srgbClr val="000000"/>
              </a:solidFill>
            </a:rPr>
            <a:t>Remove All documents</a:t>
          </a:r>
        </a:p>
      </dgm:t>
    </dgm:pt>
    <dgm:pt modelId="{881BA98E-A9FD-4DEA-BE86-93B6F16B06BD}" type="parTrans" cxnId="{44B6D785-D8DB-4660-A24E-4185F3DF8877}">
      <dgm:prSet/>
      <dgm:spPr/>
      <dgm:t>
        <a:bodyPr/>
        <a:lstStyle/>
        <a:p>
          <a:endParaRPr lang="en-US" sz="2000">
            <a:solidFill>
              <a:srgbClr val="000000"/>
            </a:solidFill>
          </a:endParaRPr>
        </a:p>
      </dgm:t>
    </dgm:pt>
    <dgm:pt modelId="{6612D5C7-E7F5-44B1-BB8A-5FC7044D50D1}" type="sibTrans" cxnId="{44B6D785-D8DB-4660-A24E-4185F3DF8877}">
      <dgm:prSet/>
      <dgm:spPr/>
      <dgm:t>
        <a:bodyPr/>
        <a:lstStyle/>
        <a:p>
          <a:endParaRPr lang="en-US" sz="2000">
            <a:solidFill>
              <a:srgbClr val="000000"/>
            </a:solidFill>
          </a:endParaRPr>
        </a:p>
      </dgm:t>
    </dgm:pt>
    <dgm:pt modelId="{28CADA14-329C-4E1C-AA27-E1C4D3007C2C}">
      <dgm:prSet custT="1"/>
      <dgm:spPr/>
      <dgm:t>
        <a:bodyPr/>
        <a:lstStyle/>
        <a:p>
          <a:r>
            <a:rPr lang="en-US" sz="2000" dirty="0" smtClean="0">
              <a:solidFill>
                <a:srgbClr val="000000"/>
              </a:solidFill>
            </a:rPr>
            <a:t>If you don't specify deletion criteria, then mongodb will delete whole documents from the collection. </a:t>
          </a:r>
          <a:r>
            <a:rPr lang="en-US" sz="2000" b="1" dirty="0" smtClean="0">
              <a:solidFill>
                <a:srgbClr val="000000"/>
              </a:solidFill>
            </a:rPr>
            <a:t>This is equivalent of SQL's truncate command.</a:t>
          </a:r>
          <a:endParaRPr lang="en-US" sz="2000" dirty="0" smtClean="0">
            <a:solidFill>
              <a:srgbClr val="000000"/>
            </a:solidFill>
          </a:endParaRPr>
        </a:p>
      </dgm:t>
    </dgm:pt>
    <dgm:pt modelId="{C0AFA464-F126-4EE0-B8CD-70D123DE50D1}" type="parTrans" cxnId="{2163DC87-EFFC-41E5-A7BA-8C42166D21EE}">
      <dgm:prSet/>
      <dgm:spPr/>
      <dgm:t>
        <a:bodyPr/>
        <a:lstStyle/>
        <a:p>
          <a:endParaRPr lang="en-US" sz="2000">
            <a:solidFill>
              <a:srgbClr val="000000"/>
            </a:solidFill>
          </a:endParaRPr>
        </a:p>
      </dgm:t>
    </dgm:pt>
    <dgm:pt modelId="{8ADBE876-FB6E-44CC-8C68-F378655B1337}" type="sibTrans" cxnId="{2163DC87-EFFC-41E5-A7BA-8C42166D21EE}">
      <dgm:prSet/>
      <dgm:spPr/>
      <dgm:t>
        <a:bodyPr/>
        <a:lstStyle/>
        <a:p>
          <a:endParaRPr lang="en-US" sz="2000">
            <a:solidFill>
              <a:srgbClr val="000000"/>
            </a:solidFill>
          </a:endParaRPr>
        </a:p>
      </dgm:t>
    </dgm:pt>
    <dgm:pt modelId="{1789C0E6-268F-411A-9E0F-DA5D33D1C461}">
      <dgm:prSet custT="1"/>
      <dgm:spPr/>
      <dgm:t>
        <a:bodyPr/>
        <a:lstStyle/>
        <a:p>
          <a:r>
            <a:rPr lang="en-US" sz="2000" dirty="0" smtClean="0">
              <a:solidFill>
                <a:srgbClr val="000000"/>
              </a:solidFill>
            </a:rPr>
            <a:t>db.employees.remove() </a:t>
          </a:r>
        </a:p>
      </dgm:t>
    </dgm:pt>
    <dgm:pt modelId="{071A06A8-4230-456E-98FA-236D247D4A75}" type="parTrans" cxnId="{50239981-FF58-4840-B1C7-70F0DE560122}">
      <dgm:prSet/>
      <dgm:spPr/>
      <dgm:t>
        <a:bodyPr/>
        <a:lstStyle/>
        <a:p>
          <a:endParaRPr lang="en-US" sz="2000">
            <a:solidFill>
              <a:srgbClr val="000000"/>
            </a:solidFill>
          </a:endParaRPr>
        </a:p>
      </dgm:t>
    </dgm:pt>
    <dgm:pt modelId="{A31FB616-35DA-4622-99AD-4EB5867210EC}" type="sibTrans" cxnId="{50239981-FF58-4840-B1C7-70F0DE560122}">
      <dgm:prSet/>
      <dgm:spPr/>
      <dgm:t>
        <a:bodyPr/>
        <a:lstStyle/>
        <a:p>
          <a:endParaRPr lang="en-US" sz="2000">
            <a:solidFill>
              <a:srgbClr val="000000"/>
            </a:solidFill>
          </a:endParaRPr>
        </a:p>
      </dgm:t>
    </dgm:pt>
    <dgm:pt modelId="{23E0C2BB-7A57-469A-8E1D-D41F66C72C71}">
      <dgm:prSet custT="1"/>
      <dgm:spPr/>
      <dgm:t>
        <a:bodyPr/>
        <a:lstStyle/>
        <a:p>
          <a:r>
            <a:rPr lang="en-US" sz="2000" dirty="0" smtClean="0">
              <a:solidFill>
                <a:srgbClr val="000000"/>
              </a:solidFill>
            </a:rPr>
            <a:t>&gt;db.employees.find() </a:t>
          </a:r>
        </a:p>
      </dgm:t>
    </dgm:pt>
    <dgm:pt modelId="{C4060DA9-C454-465F-A0ED-3DF45D80A497}" type="parTrans" cxnId="{9FDB12A3-DC2F-4E61-90D4-11C6EBB16E07}">
      <dgm:prSet/>
      <dgm:spPr/>
      <dgm:t>
        <a:bodyPr/>
        <a:lstStyle/>
        <a:p>
          <a:endParaRPr lang="en-US">
            <a:solidFill>
              <a:srgbClr val="000000"/>
            </a:solidFill>
          </a:endParaRPr>
        </a:p>
      </dgm:t>
    </dgm:pt>
    <dgm:pt modelId="{013A08C3-687A-4BC0-A43B-AA83419D72D8}" type="sibTrans" cxnId="{9FDB12A3-DC2F-4E61-90D4-11C6EBB16E07}">
      <dgm:prSet/>
      <dgm:spPr/>
      <dgm:t>
        <a:bodyPr/>
        <a:lstStyle/>
        <a:p>
          <a:endParaRPr lang="en-US">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B09FC2E6-3277-4BE7-8863-64EA2D917233}" type="pres">
      <dgm:prSet presAssocID="{F03A470E-D788-4E8C-8198-3EC2B90C12B1}" presName="spacer" presStyleCnt="0"/>
      <dgm:spPr/>
    </dgm:pt>
    <dgm:pt modelId="{B087FF26-C659-4378-87FA-BD4D68B200FE}" type="pres">
      <dgm:prSet presAssocID="{2DF14136-82BE-47C4-AC8B-25B5EB1F4291}" presName="parentText" presStyleLbl="node1" presStyleIdx="1" presStyleCnt="4">
        <dgm:presLayoutVars>
          <dgm:chMax val="0"/>
          <dgm:bulletEnabled val="1"/>
        </dgm:presLayoutVars>
      </dgm:prSet>
      <dgm:spPr/>
      <dgm:t>
        <a:bodyPr/>
        <a:lstStyle/>
        <a:p>
          <a:endParaRPr lang="en-US"/>
        </a:p>
      </dgm:t>
    </dgm:pt>
    <dgm:pt modelId="{57E76DF0-E06D-425E-AB76-C051DAB8E095}" type="pres">
      <dgm:prSet presAssocID="{B4542743-0637-4109-8DA3-8C31F8FF7EB8}" presName="spacer" presStyleCnt="0"/>
      <dgm:spPr/>
    </dgm:pt>
    <dgm:pt modelId="{7612DCC8-E58E-490D-ABD5-9793BFA018A5}" type="pres">
      <dgm:prSet presAssocID="{74F6F76A-5319-4ED9-818D-726DD070C526}" presName="parentText" presStyleLbl="node1" presStyleIdx="2" presStyleCnt="4">
        <dgm:presLayoutVars>
          <dgm:chMax val="0"/>
          <dgm:bulletEnabled val="1"/>
        </dgm:presLayoutVars>
      </dgm:prSet>
      <dgm:spPr/>
      <dgm:t>
        <a:bodyPr/>
        <a:lstStyle/>
        <a:p>
          <a:endParaRPr lang="en-US"/>
        </a:p>
      </dgm:t>
    </dgm:pt>
    <dgm:pt modelId="{BA08BD5B-87B9-49FF-B75B-E0B01BA91DC3}" type="pres">
      <dgm:prSet presAssocID="{6612D5C7-E7F5-44B1-BB8A-5FC7044D50D1}" presName="spacer" presStyleCnt="0"/>
      <dgm:spPr/>
    </dgm:pt>
    <dgm:pt modelId="{6673E3D6-1562-4D38-BCAB-3F49F0BC541B}" type="pres">
      <dgm:prSet presAssocID="{28CADA14-329C-4E1C-AA27-E1C4D3007C2C}" presName="parentText" presStyleLbl="node1" presStyleIdx="3" presStyleCnt="4">
        <dgm:presLayoutVars>
          <dgm:chMax val="0"/>
          <dgm:bulletEnabled val="1"/>
        </dgm:presLayoutVars>
      </dgm:prSet>
      <dgm:spPr/>
      <dgm:t>
        <a:bodyPr/>
        <a:lstStyle/>
        <a:p>
          <a:endParaRPr lang="en-US"/>
        </a:p>
      </dgm:t>
    </dgm:pt>
    <dgm:pt modelId="{DA0F7DD1-DA90-4478-99A4-B4371C2267F9}" type="pres">
      <dgm:prSet presAssocID="{28CADA14-329C-4E1C-AA27-E1C4D3007C2C}" presName="childText" presStyleLbl="revTx" presStyleIdx="0" presStyleCnt="1">
        <dgm:presLayoutVars>
          <dgm:bulletEnabled val="1"/>
        </dgm:presLayoutVars>
      </dgm:prSet>
      <dgm:spPr/>
      <dgm:t>
        <a:bodyPr/>
        <a:lstStyle/>
        <a:p>
          <a:endParaRPr lang="en-US"/>
        </a:p>
      </dgm:t>
    </dgm:pt>
  </dgm:ptLst>
  <dgm:cxnLst>
    <dgm:cxn modelId="{A6BAAAC2-FD14-4787-A64C-1CE58512B047}" type="presOf" srcId="{29B1402D-A153-4C5A-BE98-8D9F1780C5D8}" destId="{EA2E1B46-256E-4363-AF1A-0C8557BCBA36}" srcOrd="0" destOrd="0" presId="urn:microsoft.com/office/officeart/2005/8/layout/vList2"/>
    <dgm:cxn modelId="{BDFB7A85-6DCD-45BC-AF1A-1CE1E27BF36F}" type="presOf" srcId="{01B48101-CFA8-4641-83C7-B22F9ABEB30B}" destId="{A77B38D6-8EF8-4F56-B969-6807478B1038}" srcOrd="0" destOrd="0" presId="urn:microsoft.com/office/officeart/2005/8/layout/vList2"/>
    <dgm:cxn modelId="{44B6D785-D8DB-4660-A24E-4185F3DF8877}" srcId="{29B1402D-A153-4C5A-BE98-8D9F1780C5D8}" destId="{74F6F76A-5319-4ED9-818D-726DD070C526}" srcOrd="2" destOrd="0" parTransId="{881BA98E-A9FD-4DEA-BE86-93B6F16B06BD}" sibTransId="{6612D5C7-E7F5-44B1-BB8A-5FC7044D50D1}"/>
    <dgm:cxn modelId="{4F15AC9E-735F-4200-8505-0BED4D4981EC}" type="presOf" srcId="{2DF14136-82BE-47C4-AC8B-25B5EB1F4291}" destId="{B087FF26-C659-4378-87FA-BD4D68B200FE}" srcOrd="0" destOrd="0" presId="urn:microsoft.com/office/officeart/2005/8/layout/vList2"/>
    <dgm:cxn modelId="{50239981-FF58-4840-B1C7-70F0DE560122}" srcId="{28CADA14-329C-4E1C-AA27-E1C4D3007C2C}" destId="{1789C0E6-268F-411A-9E0F-DA5D33D1C461}" srcOrd="0" destOrd="0" parTransId="{071A06A8-4230-456E-98FA-236D247D4A75}" sibTransId="{A31FB616-35DA-4622-99AD-4EB5867210EC}"/>
    <dgm:cxn modelId="{6B3470CE-00F3-4907-A85C-2FEAF8472254}" type="presOf" srcId="{1789C0E6-268F-411A-9E0F-DA5D33D1C461}" destId="{DA0F7DD1-DA90-4478-99A4-B4371C2267F9}" srcOrd="0" destOrd="0" presId="urn:microsoft.com/office/officeart/2005/8/layout/vList2"/>
    <dgm:cxn modelId="{D6EA4332-C8B4-4737-86C5-7FF90ABD631B}" srcId="{29B1402D-A153-4C5A-BE98-8D9F1780C5D8}" destId="{2DF14136-82BE-47C4-AC8B-25B5EB1F4291}" srcOrd="1" destOrd="0" parTransId="{BD394143-7EE1-4BDC-9CE6-C550DCC9E0EE}" sibTransId="{B4542743-0637-4109-8DA3-8C31F8FF7EB8}"/>
    <dgm:cxn modelId="{5DEE2790-B29C-44BB-AACD-9FE6519C05E3}" type="presOf" srcId="{28CADA14-329C-4E1C-AA27-E1C4D3007C2C}" destId="{6673E3D6-1562-4D38-BCAB-3F49F0BC541B}" srcOrd="0" destOrd="0" presId="urn:microsoft.com/office/officeart/2005/8/layout/vList2"/>
    <dgm:cxn modelId="{5A66CD1A-622F-4CBF-9310-E78F51B1FE8A}" type="presOf" srcId="{74F6F76A-5319-4ED9-818D-726DD070C526}" destId="{7612DCC8-E58E-490D-ABD5-9793BFA018A5}" srcOrd="0" destOrd="0" presId="urn:microsoft.com/office/officeart/2005/8/layout/vList2"/>
    <dgm:cxn modelId="{485ECFDB-B057-42BC-93DC-65392356737E}" type="presOf" srcId="{23E0C2BB-7A57-469A-8E1D-D41F66C72C71}" destId="{DA0F7DD1-DA90-4478-99A4-B4371C2267F9}" srcOrd="0" destOrd="1" presId="urn:microsoft.com/office/officeart/2005/8/layout/vList2"/>
    <dgm:cxn modelId="{2163DC87-EFFC-41E5-A7BA-8C42166D21EE}" srcId="{29B1402D-A153-4C5A-BE98-8D9F1780C5D8}" destId="{28CADA14-329C-4E1C-AA27-E1C4D3007C2C}" srcOrd="3" destOrd="0" parTransId="{C0AFA464-F126-4EE0-B8CD-70D123DE50D1}" sibTransId="{8ADBE876-FB6E-44CC-8C68-F378655B1337}"/>
    <dgm:cxn modelId="{E07CAD63-0E86-4D7B-A66A-5C3588C48197}" srcId="{29B1402D-A153-4C5A-BE98-8D9F1780C5D8}" destId="{01B48101-CFA8-4641-83C7-B22F9ABEB30B}" srcOrd="0" destOrd="0" parTransId="{4D5AEF54-14FE-4BA4-987A-BECEB44108D1}" sibTransId="{F03A470E-D788-4E8C-8198-3EC2B90C12B1}"/>
    <dgm:cxn modelId="{9FDB12A3-DC2F-4E61-90D4-11C6EBB16E07}" srcId="{28CADA14-329C-4E1C-AA27-E1C4D3007C2C}" destId="{23E0C2BB-7A57-469A-8E1D-D41F66C72C71}" srcOrd="1" destOrd="0" parTransId="{C4060DA9-C454-465F-A0ED-3DF45D80A497}" sibTransId="{013A08C3-687A-4BC0-A43B-AA83419D72D8}"/>
    <dgm:cxn modelId="{E423CB35-D125-4D86-9D62-74B339A07695}" type="presParOf" srcId="{EA2E1B46-256E-4363-AF1A-0C8557BCBA36}" destId="{A77B38D6-8EF8-4F56-B969-6807478B1038}" srcOrd="0" destOrd="0" presId="urn:microsoft.com/office/officeart/2005/8/layout/vList2"/>
    <dgm:cxn modelId="{81566F2F-8689-45AD-86D6-76B4CE7146A4}" type="presParOf" srcId="{EA2E1B46-256E-4363-AF1A-0C8557BCBA36}" destId="{B09FC2E6-3277-4BE7-8863-64EA2D917233}" srcOrd="1" destOrd="0" presId="urn:microsoft.com/office/officeart/2005/8/layout/vList2"/>
    <dgm:cxn modelId="{22E0683F-81CD-4DA9-B349-C58CDD91D52B}" type="presParOf" srcId="{EA2E1B46-256E-4363-AF1A-0C8557BCBA36}" destId="{B087FF26-C659-4378-87FA-BD4D68B200FE}" srcOrd="2" destOrd="0" presId="urn:microsoft.com/office/officeart/2005/8/layout/vList2"/>
    <dgm:cxn modelId="{33278C03-B91D-45D9-B33B-D921EAD4BE7B}" type="presParOf" srcId="{EA2E1B46-256E-4363-AF1A-0C8557BCBA36}" destId="{57E76DF0-E06D-425E-AB76-C051DAB8E095}" srcOrd="3" destOrd="0" presId="urn:microsoft.com/office/officeart/2005/8/layout/vList2"/>
    <dgm:cxn modelId="{6B923BBA-04E0-4BE7-8DA0-459E40FF14DF}" type="presParOf" srcId="{EA2E1B46-256E-4363-AF1A-0C8557BCBA36}" destId="{7612DCC8-E58E-490D-ABD5-9793BFA018A5}" srcOrd="4" destOrd="0" presId="urn:microsoft.com/office/officeart/2005/8/layout/vList2"/>
    <dgm:cxn modelId="{D6288676-BBAE-4062-8972-68C01591026B}" type="presParOf" srcId="{EA2E1B46-256E-4363-AF1A-0C8557BCBA36}" destId="{BA08BD5B-87B9-49FF-B75B-E0B01BA91DC3}" srcOrd="5" destOrd="0" presId="urn:microsoft.com/office/officeart/2005/8/layout/vList2"/>
    <dgm:cxn modelId="{50098A3C-DE50-424A-88EB-6DE7110B4D09}" type="presParOf" srcId="{EA2E1B46-256E-4363-AF1A-0C8557BCBA36}" destId="{6673E3D6-1562-4D38-BCAB-3F49F0BC541B}" srcOrd="6" destOrd="0" presId="urn:microsoft.com/office/officeart/2005/8/layout/vList2"/>
    <dgm:cxn modelId="{0EAFB247-A0A1-443A-B749-E27FC9BDD955}" type="presParOf" srcId="{EA2E1B46-256E-4363-AF1A-0C8557BCBA36}" destId="{DA0F7DD1-DA90-4478-99A4-B4371C2267F9}" srcOrd="7"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3A1FF20-1C02-47D8-BF7A-20B52ACEC75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C7E0593-F3ED-4BFC-8017-4C0382C86971}">
      <dgm:prSet phldrT="[Text]" custT="1"/>
      <dgm:spPr/>
      <dgm:t>
        <a:bodyPr/>
        <a:lstStyle/>
        <a:p>
          <a:r>
            <a:rPr lang="en-US" sz="2000" dirty="0" smtClean="0"/>
            <a:t>MongoDB's </a:t>
          </a:r>
          <a:r>
            <a:rPr lang="en-US" sz="2000" b="1" dirty="0" smtClean="0"/>
            <a:t>update()</a:t>
          </a:r>
          <a:r>
            <a:rPr lang="en-US" sz="2000" dirty="0" smtClean="0"/>
            <a:t> and </a:t>
          </a:r>
          <a:r>
            <a:rPr lang="en-US" sz="2000" b="1" dirty="0" smtClean="0"/>
            <a:t>save()</a:t>
          </a:r>
          <a:r>
            <a:rPr lang="en-US" sz="2000" dirty="0" smtClean="0"/>
            <a:t> methods are used to update document into a collection. The update() method update values in the existing document while the save() method replaces the existing document with the document passed in save() method.</a:t>
          </a:r>
          <a:endParaRPr lang="en-US" sz="2000" dirty="0"/>
        </a:p>
      </dgm:t>
    </dgm:pt>
    <dgm:pt modelId="{A3E4AD94-1853-4A25-8218-8FB35124AA34}" type="parTrans" cxnId="{8356A88C-6062-412C-BDCA-8DAD062A4CB5}">
      <dgm:prSet/>
      <dgm:spPr/>
      <dgm:t>
        <a:bodyPr/>
        <a:lstStyle/>
        <a:p>
          <a:endParaRPr lang="en-US" sz="2000"/>
        </a:p>
      </dgm:t>
    </dgm:pt>
    <dgm:pt modelId="{3CFA8042-8700-48CF-8F52-8D47CA9759BC}" type="sibTrans" cxnId="{8356A88C-6062-412C-BDCA-8DAD062A4CB5}">
      <dgm:prSet/>
      <dgm:spPr/>
      <dgm:t>
        <a:bodyPr/>
        <a:lstStyle/>
        <a:p>
          <a:endParaRPr lang="en-US" sz="2000"/>
        </a:p>
      </dgm:t>
    </dgm:pt>
    <dgm:pt modelId="{4A23A500-1FF0-4861-AA28-0E3DBEAC6F40}">
      <dgm:prSet phldrT="[Text]" custT="1"/>
      <dgm:spPr/>
      <dgm:t>
        <a:bodyPr/>
        <a:lstStyle/>
        <a:p>
          <a:r>
            <a:rPr lang="en-US" sz="2000" dirty="0" smtClean="0"/>
            <a:t>The update() method updates values in the existing document.</a:t>
          </a:r>
          <a:endParaRPr lang="en-US" sz="2000" dirty="0"/>
        </a:p>
      </dgm:t>
    </dgm:pt>
    <dgm:pt modelId="{E185F51B-5F09-49E5-9AC5-CA12D968BBBE}" type="parTrans" cxnId="{B4E71493-ADF4-4007-ADBB-5D2B6A07F039}">
      <dgm:prSet/>
      <dgm:spPr/>
      <dgm:t>
        <a:bodyPr/>
        <a:lstStyle/>
        <a:p>
          <a:endParaRPr lang="en-US" sz="2000"/>
        </a:p>
      </dgm:t>
    </dgm:pt>
    <dgm:pt modelId="{C34E08B6-8E97-49B4-A8CA-E3BEB2F7594C}" type="sibTrans" cxnId="{B4E71493-ADF4-4007-ADBB-5D2B6A07F039}">
      <dgm:prSet/>
      <dgm:spPr/>
      <dgm:t>
        <a:bodyPr/>
        <a:lstStyle/>
        <a:p>
          <a:endParaRPr lang="en-US" sz="2000"/>
        </a:p>
      </dgm:t>
    </dgm:pt>
    <dgm:pt modelId="{960B416C-5296-4D51-87F9-F4C28240C07F}">
      <dgm:prSet phldrT="[Text]" custT="1"/>
      <dgm:spPr/>
      <dgm:t>
        <a:bodyPr/>
        <a:lstStyle/>
        <a:p>
          <a:r>
            <a:rPr lang="en-US" sz="2000" dirty="0" smtClean="0"/>
            <a:t>Example: &gt;db.employees.update({firstname:"vaishali"},{firstname:"vaishali",lastname:"shrivastava",age:30})</a:t>
          </a:r>
          <a:endParaRPr lang="en-US" sz="2000" dirty="0"/>
        </a:p>
      </dgm:t>
    </dgm:pt>
    <dgm:pt modelId="{249B6DA6-9D0C-4B90-9044-6719E9479865}" type="parTrans" cxnId="{36E0D996-2788-4275-B303-E4BBC3AEA28B}">
      <dgm:prSet/>
      <dgm:spPr/>
      <dgm:t>
        <a:bodyPr/>
        <a:lstStyle/>
        <a:p>
          <a:endParaRPr lang="en-US" sz="2000"/>
        </a:p>
      </dgm:t>
    </dgm:pt>
    <dgm:pt modelId="{722F49E2-8AC3-47FE-8F28-5BD270ECE86B}" type="sibTrans" cxnId="{36E0D996-2788-4275-B303-E4BBC3AEA28B}">
      <dgm:prSet/>
      <dgm:spPr/>
      <dgm:t>
        <a:bodyPr/>
        <a:lstStyle/>
        <a:p>
          <a:endParaRPr lang="en-US" sz="2000"/>
        </a:p>
      </dgm:t>
    </dgm:pt>
    <dgm:pt modelId="{DF16923A-E6D2-4EF6-A772-37263B6397C4}">
      <dgm:prSet phldrT="[Text]" custT="1"/>
      <dgm:spPr/>
      <dgm:t>
        <a:bodyPr/>
        <a:lstStyle/>
        <a:p>
          <a:endParaRPr lang="en-US" sz="2000" dirty="0"/>
        </a:p>
      </dgm:t>
    </dgm:pt>
    <dgm:pt modelId="{61DDD9D9-909E-448B-8DC2-D2BA5391E7ED}" type="parTrans" cxnId="{8B68A01C-1E89-409B-A5F5-2A84ECCAF15D}">
      <dgm:prSet/>
      <dgm:spPr/>
      <dgm:t>
        <a:bodyPr/>
        <a:lstStyle/>
        <a:p>
          <a:endParaRPr lang="en-US" sz="2000"/>
        </a:p>
      </dgm:t>
    </dgm:pt>
    <dgm:pt modelId="{07D35816-1ECE-4DE6-B9C3-64A53A1AEAC5}" type="sibTrans" cxnId="{8B68A01C-1E89-409B-A5F5-2A84ECCAF15D}">
      <dgm:prSet/>
      <dgm:spPr/>
      <dgm:t>
        <a:bodyPr/>
        <a:lstStyle/>
        <a:p>
          <a:endParaRPr lang="en-US" sz="2000"/>
        </a:p>
      </dgm:t>
    </dgm:pt>
    <dgm:pt modelId="{C17B4890-1E1F-436A-8E5F-6714D53072EC}" type="pres">
      <dgm:prSet presAssocID="{E3A1FF20-1C02-47D8-BF7A-20B52ACEC754}" presName="linear" presStyleCnt="0">
        <dgm:presLayoutVars>
          <dgm:animLvl val="lvl"/>
          <dgm:resizeHandles val="exact"/>
        </dgm:presLayoutVars>
      </dgm:prSet>
      <dgm:spPr/>
      <dgm:t>
        <a:bodyPr/>
        <a:lstStyle/>
        <a:p>
          <a:endParaRPr lang="en-US"/>
        </a:p>
      </dgm:t>
    </dgm:pt>
    <dgm:pt modelId="{8C5F76FF-F42C-4D68-9845-87BDB179956C}" type="pres">
      <dgm:prSet presAssocID="{BC7E0593-F3ED-4BFC-8017-4C0382C86971}" presName="parentText" presStyleLbl="node1" presStyleIdx="0" presStyleCnt="3" custScaleY="120101">
        <dgm:presLayoutVars>
          <dgm:chMax val="0"/>
          <dgm:bulletEnabled val="1"/>
        </dgm:presLayoutVars>
      </dgm:prSet>
      <dgm:spPr/>
      <dgm:t>
        <a:bodyPr/>
        <a:lstStyle/>
        <a:p>
          <a:endParaRPr lang="en-US"/>
        </a:p>
      </dgm:t>
    </dgm:pt>
    <dgm:pt modelId="{76B98C3C-8E6B-4B20-8B88-12C9FC1AF9ED}" type="pres">
      <dgm:prSet presAssocID="{3CFA8042-8700-48CF-8F52-8D47CA9759BC}" presName="spacer" presStyleCnt="0"/>
      <dgm:spPr/>
    </dgm:pt>
    <dgm:pt modelId="{1FDB5A76-AEAE-41A3-9640-8127DA8C590E}" type="pres">
      <dgm:prSet presAssocID="{4A23A500-1FF0-4861-AA28-0E3DBEAC6F40}" presName="parentText" presStyleLbl="node1" presStyleIdx="1" presStyleCnt="3" custScaleY="29748">
        <dgm:presLayoutVars>
          <dgm:chMax val="0"/>
          <dgm:bulletEnabled val="1"/>
        </dgm:presLayoutVars>
      </dgm:prSet>
      <dgm:spPr/>
      <dgm:t>
        <a:bodyPr/>
        <a:lstStyle/>
        <a:p>
          <a:endParaRPr lang="en-US"/>
        </a:p>
      </dgm:t>
    </dgm:pt>
    <dgm:pt modelId="{6EF0FB9B-26AC-4E08-A374-8E0B663AD56A}" type="pres">
      <dgm:prSet presAssocID="{C34E08B6-8E97-49B4-A8CA-E3BEB2F7594C}" presName="spacer" presStyleCnt="0"/>
      <dgm:spPr/>
    </dgm:pt>
    <dgm:pt modelId="{A61DBAE9-5AF2-4247-98D8-CE798B428171}" type="pres">
      <dgm:prSet presAssocID="{960B416C-5296-4D51-87F9-F4C28240C07F}" presName="parentText" presStyleLbl="node1" presStyleIdx="2" presStyleCnt="3" custScaleY="105162">
        <dgm:presLayoutVars>
          <dgm:chMax val="0"/>
          <dgm:bulletEnabled val="1"/>
        </dgm:presLayoutVars>
      </dgm:prSet>
      <dgm:spPr/>
      <dgm:t>
        <a:bodyPr/>
        <a:lstStyle/>
        <a:p>
          <a:endParaRPr lang="en-US"/>
        </a:p>
      </dgm:t>
    </dgm:pt>
    <dgm:pt modelId="{BF918D97-BE01-4D11-A6D4-4D6197EFC19D}" type="pres">
      <dgm:prSet presAssocID="{960B416C-5296-4D51-87F9-F4C28240C07F}" presName="childText" presStyleLbl="revTx" presStyleIdx="0" presStyleCnt="1">
        <dgm:presLayoutVars>
          <dgm:bulletEnabled val="1"/>
        </dgm:presLayoutVars>
      </dgm:prSet>
      <dgm:spPr/>
      <dgm:t>
        <a:bodyPr/>
        <a:lstStyle/>
        <a:p>
          <a:endParaRPr lang="en-US"/>
        </a:p>
      </dgm:t>
    </dgm:pt>
  </dgm:ptLst>
  <dgm:cxnLst>
    <dgm:cxn modelId="{C7B2EDB3-E367-4657-97FF-8B64B784EFA8}" type="presOf" srcId="{DF16923A-E6D2-4EF6-A772-37263B6397C4}" destId="{BF918D97-BE01-4D11-A6D4-4D6197EFC19D}" srcOrd="0" destOrd="0" presId="urn:microsoft.com/office/officeart/2005/8/layout/vList2"/>
    <dgm:cxn modelId="{765C1FFD-1A36-4EBE-BC01-EE69D4312B8B}" type="presOf" srcId="{4A23A500-1FF0-4861-AA28-0E3DBEAC6F40}" destId="{1FDB5A76-AEAE-41A3-9640-8127DA8C590E}" srcOrd="0" destOrd="0" presId="urn:microsoft.com/office/officeart/2005/8/layout/vList2"/>
    <dgm:cxn modelId="{36E0D996-2788-4275-B303-E4BBC3AEA28B}" srcId="{E3A1FF20-1C02-47D8-BF7A-20B52ACEC754}" destId="{960B416C-5296-4D51-87F9-F4C28240C07F}" srcOrd="2" destOrd="0" parTransId="{249B6DA6-9D0C-4B90-9044-6719E9479865}" sibTransId="{722F49E2-8AC3-47FE-8F28-5BD270ECE86B}"/>
    <dgm:cxn modelId="{79DA18C9-6632-46DF-87FC-55EA5956E1C6}" type="presOf" srcId="{BC7E0593-F3ED-4BFC-8017-4C0382C86971}" destId="{8C5F76FF-F42C-4D68-9845-87BDB179956C}" srcOrd="0" destOrd="0" presId="urn:microsoft.com/office/officeart/2005/8/layout/vList2"/>
    <dgm:cxn modelId="{8356A88C-6062-412C-BDCA-8DAD062A4CB5}" srcId="{E3A1FF20-1C02-47D8-BF7A-20B52ACEC754}" destId="{BC7E0593-F3ED-4BFC-8017-4C0382C86971}" srcOrd="0" destOrd="0" parTransId="{A3E4AD94-1853-4A25-8218-8FB35124AA34}" sibTransId="{3CFA8042-8700-48CF-8F52-8D47CA9759BC}"/>
    <dgm:cxn modelId="{A70D8284-8FAD-4C96-B576-000D3E215218}" type="presOf" srcId="{960B416C-5296-4D51-87F9-F4C28240C07F}" destId="{A61DBAE9-5AF2-4247-98D8-CE798B428171}" srcOrd="0" destOrd="0" presId="urn:microsoft.com/office/officeart/2005/8/layout/vList2"/>
    <dgm:cxn modelId="{02C531E2-2BBD-43E1-A329-60E84716089F}" type="presOf" srcId="{E3A1FF20-1C02-47D8-BF7A-20B52ACEC754}" destId="{C17B4890-1E1F-436A-8E5F-6714D53072EC}" srcOrd="0" destOrd="0" presId="urn:microsoft.com/office/officeart/2005/8/layout/vList2"/>
    <dgm:cxn modelId="{8B68A01C-1E89-409B-A5F5-2A84ECCAF15D}" srcId="{960B416C-5296-4D51-87F9-F4C28240C07F}" destId="{DF16923A-E6D2-4EF6-A772-37263B6397C4}" srcOrd="0" destOrd="0" parTransId="{61DDD9D9-909E-448B-8DC2-D2BA5391E7ED}" sibTransId="{07D35816-1ECE-4DE6-B9C3-64A53A1AEAC5}"/>
    <dgm:cxn modelId="{B4E71493-ADF4-4007-ADBB-5D2B6A07F039}" srcId="{E3A1FF20-1C02-47D8-BF7A-20B52ACEC754}" destId="{4A23A500-1FF0-4861-AA28-0E3DBEAC6F40}" srcOrd="1" destOrd="0" parTransId="{E185F51B-5F09-49E5-9AC5-CA12D968BBBE}" sibTransId="{C34E08B6-8E97-49B4-A8CA-E3BEB2F7594C}"/>
    <dgm:cxn modelId="{D3BF9C36-0582-45D7-AAC4-C7782F754822}" type="presParOf" srcId="{C17B4890-1E1F-436A-8E5F-6714D53072EC}" destId="{8C5F76FF-F42C-4D68-9845-87BDB179956C}" srcOrd="0" destOrd="0" presId="urn:microsoft.com/office/officeart/2005/8/layout/vList2"/>
    <dgm:cxn modelId="{34FCB3D9-4F99-497E-B925-6C259425B1C6}" type="presParOf" srcId="{C17B4890-1E1F-436A-8E5F-6714D53072EC}" destId="{76B98C3C-8E6B-4B20-8B88-12C9FC1AF9ED}" srcOrd="1" destOrd="0" presId="urn:microsoft.com/office/officeart/2005/8/layout/vList2"/>
    <dgm:cxn modelId="{1368ED7C-CB69-4F3E-A181-CB7ED535EAE1}" type="presParOf" srcId="{C17B4890-1E1F-436A-8E5F-6714D53072EC}" destId="{1FDB5A76-AEAE-41A3-9640-8127DA8C590E}" srcOrd="2" destOrd="0" presId="urn:microsoft.com/office/officeart/2005/8/layout/vList2"/>
    <dgm:cxn modelId="{C6CB8DAF-5ACB-41BD-BA6C-E06E81A2DC71}" type="presParOf" srcId="{C17B4890-1E1F-436A-8E5F-6714D53072EC}" destId="{6EF0FB9B-26AC-4E08-A374-8E0B663AD56A}" srcOrd="3" destOrd="0" presId="urn:microsoft.com/office/officeart/2005/8/layout/vList2"/>
    <dgm:cxn modelId="{38077587-F9A9-47FE-9AE1-FF10ED54D755}" type="presParOf" srcId="{C17B4890-1E1F-436A-8E5F-6714D53072EC}" destId="{A61DBAE9-5AF2-4247-98D8-CE798B428171}" srcOrd="4" destOrd="0" presId="urn:microsoft.com/office/officeart/2005/8/layout/vList2"/>
    <dgm:cxn modelId="{AEC9CD15-5D22-45F7-AAC5-9DDDE7CE9343}" type="presParOf" srcId="{C17B4890-1E1F-436A-8E5F-6714D53072EC}" destId="{BF918D97-BE01-4D11-A6D4-4D6197EFC19D}"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376574D-7379-42DB-8F41-E9FBAD2FFB9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764B0A8-D45A-4DE3-B7A6-6D4E605D761C}">
      <dgm:prSet phldrT="[Text]" custT="1"/>
      <dgm:spPr/>
      <dgm:t>
        <a:bodyPr/>
        <a:lstStyle/>
        <a:p>
          <a:r>
            <a:rPr lang="en-US" sz="1800" b="1" dirty="0" smtClean="0">
              <a:solidFill>
                <a:srgbClr val="000000"/>
              </a:solidFill>
            </a:rPr>
            <a:t>Update (document)</a:t>
          </a:r>
          <a:r>
            <a:rPr lang="en-US" sz="1800" dirty="0" smtClean="0">
              <a:solidFill>
                <a:srgbClr val="000000"/>
              </a:solidFill>
            </a:rPr>
            <a:t> – Specifies the modifications to apply.</a:t>
          </a:r>
          <a:endParaRPr lang="en-US" sz="1800" dirty="0">
            <a:solidFill>
              <a:srgbClr val="000000"/>
            </a:solidFill>
          </a:endParaRPr>
        </a:p>
      </dgm:t>
    </dgm:pt>
    <dgm:pt modelId="{9F8E0C25-9B95-497C-8878-6527B84EA713}" type="parTrans" cxnId="{8A1A6ED2-07A4-416A-B97B-FA04B60327D2}">
      <dgm:prSet/>
      <dgm:spPr/>
      <dgm:t>
        <a:bodyPr/>
        <a:lstStyle/>
        <a:p>
          <a:endParaRPr lang="en-US" sz="1800">
            <a:solidFill>
              <a:srgbClr val="000000"/>
            </a:solidFill>
          </a:endParaRPr>
        </a:p>
      </dgm:t>
    </dgm:pt>
    <dgm:pt modelId="{19B2D4AA-4088-4319-A5EC-F6FE210212DC}" type="sibTrans" cxnId="{8A1A6ED2-07A4-416A-B97B-FA04B60327D2}">
      <dgm:prSet/>
      <dgm:spPr/>
      <dgm:t>
        <a:bodyPr/>
        <a:lstStyle/>
        <a:p>
          <a:endParaRPr lang="en-US" sz="1800">
            <a:solidFill>
              <a:srgbClr val="000000"/>
            </a:solidFill>
          </a:endParaRPr>
        </a:p>
      </dgm:t>
    </dgm:pt>
    <dgm:pt modelId="{BB382F2D-68F9-4D08-A83F-310C1E92F452}">
      <dgm:prSet phldrT="[Text]" custT="1"/>
      <dgm:spPr/>
      <dgm:t>
        <a:bodyPr/>
        <a:lstStyle/>
        <a:p>
          <a:r>
            <a:rPr lang="en-US" sz="1800" b="1" dirty="0" smtClean="0">
              <a:solidFill>
                <a:srgbClr val="000000"/>
              </a:solidFill>
            </a:rPr>
            <a:t>If</a:t>
          </a:r>
          <a:r>
            <a:rPr lang="en-US" sz="1800" dirty="0" smtClean="0">
              <a:solidFill>
                <a:srgbClr val="000000"/>
              </a:solidFill>
            </a:rPr>
            <a:t> the </a:t>
          </a:r>
          <a:r>
            <a:rPr lang="en-US" sz="1800" b="1" dirty="0" smtClean="0">
              <a:solidFill>
                <a:srgbClr val="000000"/>
              </a:solidFill>
            </a:rPr>
            <a:t>update</a:t>
          </a:r>
          <a:r>
            <a:rPr lang="en-US" sz="1800" dirty="0" smtClean="0">
              <a:solidFill>
                <a:srgbClr val="000000"/>
              </a:solidFill>
            </a:rPr>
            <a:t> parameter contains any update operators expressions such as the $set operator expression, then:</a:t>
          </a:r>
          <a:endParaRPr lang="en-US" sz="1800" dirty="0">
            <a:solidFill>
              <a:srgbClr val="000000"/>
            </a:solidFill>
          </a:endParaRPr>
        </a:p>
      </dgm:t>
    </dgm:pt>
    <dgm:pt modelId="{3E2C510F-9CA8-4974-9B35-D3411186E1C6}" type="parTrans" cxnId="{BFECFE58-8584-4BF9-B444-C62ACDF0D9DE}">
      <dgm:prSet/>
      <dgm:spPr/>
      <dgm:t>
        <a:bodyPr/>
        <a:lstStyle/>
        <a:p>
          <a:endParaRPr lang="en-US" sz="1800">
            <a:solidFill>
              <a:srgbClr val="000000"/>
            </a:solidFill>
          </a:endParaRPr>
        </a:p>
      </dgm:t>
    </dgm:pt>
    <dgm:pt modelId="{D08B802D-76C9-4361-94F8-A89F46C5044C}" type="sibTrans" cxnId="{BFECFE58-8584-4BF9-B444-C62ACDF0D9DE}">
      <dgm:prSet/>
      <dgm:spPr/>
      <dgm:t>
        <a:bodyPr/>
        <a:lstStyle/>
        <a:p>
          <a:endParaRPr lang="en-US" sz="1800">
            <a:solidFill>
              <a:srgbClr val="000000"/>
            </a:solidFill>
          </a:endParaRPr>
        </a:p>
      </dgm:t>
    </dgm:pt>
    <dgm:pt modelId="{8E0C3FC4-128C-4C22-9CC1-69C66AC9A580}">
      <dgm:prSet phldrT="[Text]" custT="1"/>
      <dgm:spPr/>
      <dgm:t>
        <a:bodyPr/>
        <a:lstStyle/>
        <a:p>
          <a:r>
            <a:rPr lang="en-US" sz="1800" dirty="0" smtClean="0">
              <a:solidFill>
                <a:srgbClr val="000000"/>
              </a:solidFill>
            </a:rPr>
            <a:t>The update parameter must contain only update operators expressions.</a:t>
          </a:r>
          <a:endParaRPr lang="en-US" sz="1800" dirty="0">
            <a:solidFill>
              <a:srgbClr val="000000"/>
            </a:solidFill>
          </a:endParaRPr>
        </a:p>
      </dgm:t>
    </dgm:pt>
    <dgm:pt modelId="{B039D91A-FF36-4B6D-AA26-2468BC817BB2}" type="parTrans" cxnId="{31809555-6D06-4DCC-9D98-FAEE0FC75F6D}">
      <dgm:prSet/>
      <dgm:spPr/>
      <dgm:t>
        <a:bodyPr/>
        <a:lstStyle/>
        <a:p>
          <a:endParaRPr lang="en-US" sz="1800">
            <a:solidFill>
              <a:srgbClr val="000000"/>
            </a:solidFill>
          </a:endParaRPr>
        </a:p>
      </dgm:t>
    </dgm:pt>
    <dgm:pt modelId="{BD4D7893-452E-4A5B-BDE3-5E6EB786BC12}" type="sibTrans" cxnId="{31809555-6D06-4DCC-9D98-FAEE0FC75F6D}">
      <dgm:prSet/>
      <dgm:spPr/>
      <dgm:t>
        <a:bodyPr/>
        <a:lstStyle/>
        <a:p>
          <a:endParaRPr lang="en-US" sz="1800">
            <a:solidFill>
              <a:srgbClr val="000000"/>
            </a:solidFill>
          </a:endParaRPr>
        </a:p>
      </dgm:t>
    </dgm:pt>
    <dgm:pt modelId="{DF9E26A8-53B1-40FE-AB70-6177579D9DB3}">
      <dgm:prSet custT="1"/>
      <dgm:spPr/>
      <dgm:t>
        <a:bodyPr/>
        <a:lstStyle/>
        <a:p>
          <a:r>
            <a:rPr lang="en-US" sz="1800" dirty="0" smtClean="0">
              <a:solidFill>
                <a:srgbClr val="000000"/>
              </a:solidFill>
            </a:rPr>
            <a:t>The update method updates only the corresponding fields in the document.</a:t>
          </a:r>
        </a:p>
      </dgm:t>
    </dgm:pt>
    <dgm:pt modelId="{83A3B772-CAC6-4EEA-A40B-EB6AE8CD1C77}" type="parTrans" cxnId="{927B2419-A548-4E64-BD0F-F679BDCD3FAF}">
      <dgm:prSet/>
      <dgm:spPr/>
      <dgm:t>
        <a:bodyPr/>
        <a:lstStyle/>
        <a:p>
          <a:endParaRPr lang="en-US" sz="1800">
            <a:solidFill>
              <a:srgbClr val="000000"/>
            </a:solidFill>
          </a:endParaRPr>
        </a:p>
      </dgm:t>
    </dgm:pt>
    <dgm:pt modelId="{A3967E42-8F78-4920-81C2-4594CDA6CFE4}" type="sibTrans" cxnId="{927B2419-A548-4E64-BD0F-F679BDCD3FAF}">
      <dgm:prSet/>
      <dgm:spPr/>
      <dgm:t>
        <a:bodyPr/>
        <a:lstStyle/>
        <a:p>
          <a:endParaRPr lang="en-US" sz="1800">
            <a:solidFill>
              <a:srgbClr val="000000"/>
            </a:solidFill>
          </a:endParaRPr>
        </a:p>
      </dgm:t>
    </dgm:pt>
    <dgm:pt modelId="{0560C79A-19C8-4685-ADD5-4579D2F9CC65}">
      <dgm:prSet phldrT="[Text]" custT="1"/>
      <dgm:spPr/>
      <dgm:t>
        <a:bodyPr/>
        <a:lstStyle/>
        <a:p>
          <a:r>
            <a:rPr lang="en-US" sz="1800" b="1" dirty="0" smtClean="0">
              <a:solidFill>
                <a:srgbClr val="000000"/>
              </a:solidFill>
            </a:rPr>
            <a:t>If</a:t>
          </a:r>
          <a:r>
            <a:rPr lang="en-US" sz="1800" dirty="0" smtClean="0">
              <a:solidFill>
                <a:srgbClr val="000000"/>
              </a:solidFill>
            </a:rPr>
            <a:t> the </a:t>
          </a:r>
          <a:r>
            <a:rPr lang="en-US" sz="1800" b="1" dirty="0" smtClean="0">
              <a:solidFill>
                <a:srgbClr val="000000"/>
              </a:solidFill>
            </a:rPr>
            <a:t>update</a:t>
          </a:r>
          <a:r>
            <a:rPr lang="en-US" sz="1800" dirty="0" smtClean="0">
              <a:solidFill>
                <a:srgbClr val="000000"/>
              </a:solidFill>
            </a:rPr>
            <a:t> parameter consists only of field: value expressions, then:</a:t>
          </a:r>
          <a:endParaRPr lang="en-US" sz="1800" dirty="0">
            <a:solidFill>
              <a:srgbClr val="000000"/>
            </a:solidFill>
          </a:endParaRPr>
        </a:p>
      </dgm:t>
    </dgm:pt>
    <dgm:pt modelId="{9F7E97CA-9BB5-40E0-A8CC-C19AD02E16D7}" type="parTrans" cxnId="{5B87422C-ECF8-4FA8-9859-B9554957C88F}">
      <dgm:prSet/>
      <dgm:spPr/>
      <dgm:t>
        <a:bodyPr/>
        <a:lstStyle/>
        <a:p>
          <a:endParaRPr lang="en-US" sz="1800">
            <a:solidFill>
              <a:srgbClr val="000000"/>
            </a:solidFill>
          </a:endParaRPr>
        </a:p>
      </dgm:t>
    </dgm:pt>
    <dgm:pt modelId="{B62B972E-346A-41B9-BCCC-DBF110138B8D}" type="sibTrans" cxnId="{5B87422C-ECF8-4FA8-9859-B9554957C88F}">
      <dgm:prSet/>
      <dgm:spPr/>
      <dgm:t>
        <a:bodyPr/>
        <a:lstStyle/>
        <a:p>
          <a:endParaRPr lang="en-US" sz="1800">
            <a:solidFill>
              <a:srgbClr val="000000"/>
            </a:solidFill>
          </a:endParaRPr>
        </a:p>
      </dgm:t>
    </dgm:pt>
    <dgm:pt modelId="{B8229822-4C25-49DD-B09F-1AABD24A727C}">
      <dgm:prSet phldrT="[Text]" custT="1"/>
      <dgm:spPr/>
      <dgm:t>
        <a:bodyPr/>
        <a:lstStyle/>
        <a:p>
          <a:r>
            <a:rPr lang="en-US" sz="1800" dirty="0" smtClean="0">
              <a:solidFill>
                <a:srgbClr val="000000"/>
              </a:solidFill>
            </a:rPr>
            <a:t>The update method replaces the document with the updates document. If the updates document is missing the </a:t>
          </a:r>
          <a:r>
            <a:rPr lang="en-US" sz="1800" b="1" dirty="0" smtClean="0">
              <a:solidFill>
                <a:srgbClr val="000000"/>
              </a:solidFill>
            </a:rPr>
            <a:t>_id field</a:t>
          </a:r>
          <a:r>
            <a:rPr lang="en-US" sz="1800" dirty="0" smtClean="0">
              <a:solidFill>
                <a:srgbClr val="000000"/>
              </a:solidFill>
            </a:rPr>
            <a:t>, MongoDB will add the _id field and assign to it a unique object Id .</a:t>
          </a:r>
          <a:endParaRPr lang="en-US" sz="1800" dirty="0">
            <a:solidFill>
              <a:srgbClr val="000000"/>
            </a:solidFill>
          </a:endParaRPr>
        </a:p>
      </dgm:t>
    </dgm:pt>
    <dgm:pt modelId="{DA6D9432-0892-4B46-9208-E13C3C499723}" type="parTrans" cxnId="{198FAFCC-84D9-4ACF-B442-14576A018A4E}">
      <dgm:prSet/>
      <dgm:spPr/>
      <dgm:t>
        <a:bodyPr/>
        <a:lstStyle/>
        <a:p>
          <a:endParaRPr lang="en-US" sz="1800">
            <a:solidFill>
              <a:srgbClr val="000000"/>
            </a:solidFill>
          </a:endParaRPr>
        </a:p>
      </dgm:t>
    </dgm:pt>
    <dgm:pt modelId="{FE74C93B-309E-47BB-ADED-4479271EE0D9}" type="sibTrans" cxnId="{198FAFCC-84D9-4ACF-B442-14576A018A4E}">
      <dgm:prSet/>
      <dgm:spPr/>
      <dgm:t>
        <a:bodyPr/>
        <a:lstStyle/>
        <a:p>
          <a:endParaRPr lang="en-US" sz="1800">
            <a:solidFill>
              <a:srgbClr val="000000"/>
            </a:solidFill>
          </a:endParaRPr>
        </a:p>
      </dgm:t>
    </dgm:pt>
    <dgm:pt modelId="{3AF4ED58-91FD-4B0F-8DE5-D1A4EA18CC5E}">
      <dgm:prSet custT="1"/>
      <dgm:spPr/>
      <dgm:t>
        <a:bodyPr/>
        <a:lstStyle/>
        <a:p>
          <a:r>
            <a:rPr lang="en-US" sz="1800" dirty="0" smtClean="0">
              <a:solidFill>
                <a:srgbClr val="000000"/>
              </a:solidFill>
            </a:rPr>
            <a:t>The update method updates cannot update multiple documents.</a:t>
          </a:r>
        </a:p>
      </dgm:t>
    </dgm:pt>
    <dgm:pt modelId="{CD765397-2152-4836-A7FF-873E8A64BA9D}" type="parTrans" cxnId="{166752D6-E250-4229-9DD1-D9ACBC349A6F}">
      <dgm:prSet/>
      <dgm:spPr/>
      <dgm:t>
        <a:bodyPr/>
        <a:lstStyle/>
        <a:p>
          <a:endParaRPr lang="en-US" sz="1800">
            <a:solidFill>
              <a:srgbClr val="000000"/>
            </a:solidFill>
          </a:endParaRPr>
        </a:p>
      </dgm:t>
    </dgm:pt>
    <dgm:pt modelId="{F3C57534-753F-407E-A449-5DC3603FE550}" type="sibTrans" cxnId="{166752D6-E250-4229-9DD1-D9ACBC349A6F}">
      <dgm:prSet/>
      <dgm:spPr/>
      <dgm:t>
        <a:bodyPr/>
        <a:lstStyle/>
        <a:p>
          <a:endParaRPr lang="en-US" sz="1800">
            <a:solidFill>
              <a:srgbClr val="000000"/>
            </a:solidFill>
          </a:endParaRPr>
        </a:p>
      </dgm:t>
    </dgm:pt>
    <dgm:pt modelId="{5DF7C37B-C1B1-49DC-A7CF-8A1230DC2B88}">
      <dgm:prSet phldrT="[Text]" custT="1"/>
      <dgm:spPr/>
      <dgm:t>
        <a:bodyPr/>
        <a:lstStyle/>
        <a:p>
          <a:r>
            <a:rPr lang="en-US" sz="1800" b="1" dirty="0" smtClean="0">
              <a:solidFill>
                <a:srgbClr val="000000"/>
              </a:solidFill>
            </a:rPr>
            <a:t>Options</a:t>
          </a:r>
          <a:r>
            <a:rPr lang="en-US" sz="1800" dirty="0" smtClean="0">
              <a:solidFill>
                <a:srgbClr val="000000"/>
              </a:solidFill>
            </a:rPr>
            <a:t> : (optional) Specifies whether to perform an upsert and/or a multiple update. Use the options parameter instead of the individual upsert and multi parameters.</a:t>
          </a:r>
          <a:endParaRPr lang="en-US" sz="1800" dirty="0">
            <a:solidFill>
              <a:srgbClr val="000000"/>
            </a:solidFill>
          </a:endParaRPr>
        </a:p>
      </dgm:t>
    </dgm:pt>
    <dgm:pt modelId="{3A7C57D4-B538-4854-BA83-1DF5E59F8D82}" type="parTrans" cxnId="{5F834B5F-0858-4CDE-B722-0B19E87215AE}">
      <dgm:prSet/>
      <dgm:spPr/>
      <dgm:t>
        <a:bodyPr/>
        <a:lstStyle/>
        <a:p>
          <a:endParaRPr lang="en-US" sz="1800">
            <a:solidFill>
              <a:srgbClr val="000000"/>
            </a:solidFill>
          </a:endParaRPr>
        </a:p>
      </dgm:t>
    </dgm:pt>
    <dgm:pt modelId="{7E0CA893-8279-4263-8D89-1A65DD0AF59E}" type="sibTrans" cxnId="{5F834B5F-0858-4CDE-B722-0B19E87215AE}">
      <dgm:prSet/>
      <dgm:spPr/>
      <dgm:t>
        <a:bodyPr/>
        <a:lstStyle/>
        <a:p>
          <a:endParaRPr lang="en-US" sz="1800">
            <a:solidFill>
              <a:srgbClr val="000000"/>
            </a:solidFill>
          </a:endParaRPr>
        </a:p>
      </dgm:t>
    </dgm:pt>
    <dgm:pt modelId="{9F08F6E1-B88A-4E49-AF87-71A80C9155CB}" type="pres">
      <dgm:prSet presAssocID="{F376574D-7379-42DB-8F41-E9FBAD2FFB94}" presName="linear" presStyleCnt="0">
        <dgm:presLayoutVars>
          <dgm:animLvl val="lvl"/>
          <dgm:resizeHandles val="exact"/>
        </dgm:presLayoutVars>
      </dgm:prSet>
      <dgm:spPr/>
      <dgm:t>
        <a:bodyPr/>
        <a:lstStyle/>
        <a:p>
          <a:endParaRPr lang="en-US"/>
        </a:p>
      </dgm:t>
    </dgm:pt>
    <dgm:pt modelId="{83086385-7DED-4BC2-B1B8-01FBC43A899A}" type="pres">
      <dgm:prSet presAssocID="{0764B0A8-D45A-4DE3-B7A6-6D4E605D761C}" presName="parentText" presStyleLbl="node1" presStyleIdx="0" presStyleCnt="4">
        <dgm:presLayoutVars>
          <dgm:chMax val="0"/>
          <dgm:bulletEnabled val="1"/>
        </dgm:presLayoutVars>
      </dgm:prSet>
      <dgm:spPr/>
      <dgm:t>
        <a:bodyPr/>
        <a:lstStyle/>
        <a:p>
          <a:endParaRPr lang="en-US"/>
        </a:p>
      </dgm:t>
    </dgm:pt>
    <dgm:pt modelId="{4453F496-C5A5-4E77-ACAD-125852E7750A}" type="pres">
      <dgm:prSet presAssocID="{19B2D4AA-4088-4319-A5EC-F6FE210212DC}" presName="spacer" presStyleCnt="0"/>
      <dgm:spPr/>
    </dgm:pt>
    <dgm:pt modelId="{34E5D70E-E305-40A9-8B49-691F7F18E504}" type="pres">
      <dgm:prSet presAssocID="{BB382F2D-68F9-4D08-A83F-310C1E92F452}" presName="parentText" presStyleLbl="node1" presStyleIdx="1" presStyleCnt="4" custScaleY="45909" custLinFactNeighborX="1134" custLinFactNeighborY="-24030">
        <dgm:presLayoutVars>
          <dgm:chMax val="0"/>
          <dgm:bulletEnabled val="1"/>
        </dgm:presLayoutVars>
      </dgm:prSet>
      <dgm:spPr/>
      <dgm:t>
        <a:bodyPr/>
        <a:lstStyle/>
        <a:p>
          <a:endParaRPr lang="en-US"/>
        </a:p>
      </dgm:t>
    </dgm:pt>
    <dgm:pt modelId="{8B7495E1-C04A-44F1-96B1-C8BCCC2A1219}" type="pres">
      <dgm:prSet presAssocID="{BB382F2D-68F9-4D08-A83F-310C1E92F452}" presName="childText" presStyleLbl="revTx" presStyleIdx="0" presStyleCnt="2" custScaleY="98784" custLinFactNeighborX="992" custLinFactNeighborY="-8185">
        <dgm:presLayoutVars>
          <dgm:bulletEnabled val="1"/>
        </dgm:presLayoutVars>
      </dgm:prSet>
      <dgm:spPr/>
      <dgm:t>
        <a:bodyPr/>
        <a:lstStyle/>
        <a:p>
          <a:endParaRPr lang="en-US"/>
        </a:p>
      </dgm:t>
    </dgm:pt>
    <dgm:pt modelId="{1B244BBB-3358-4E44-A587-1D49457C8712}" type="pres">
      <dgm:prSet presAssocID="{0560C79A-19C8-4685-ADD5-4579D2F9CC65}" presName="parentText" presStyleLbl="node1" presStyleIdx="2" presStyleCnt="4" custScaleY="61311">
        <dgm:presLayoutVars>
          <dgm:chMax val="0"/>
          <dgm:bulletEnabled val="1"/>
        </dgm:presLayoutVars>
      </dgm:prSet>
      <dgm:spPr/>
      <dgm:t>
        <a:bodyPr/>
        <a:lstStyle/>
        <a:p>
          <a:endParaRPr lang="en-US"/>
        </a:p>
      </dgm:t>
    </dgm:pt>
    <dgm:pt modelId="{612165A9-87B1-41BA-9B63-F9C94F8B2387}" type="pres">
      <dgm:prSet presAssocID="{0560C79A-19C8-4685-ADD5-4579D2F9CC65}" presName="childText" presStyleLbl="revTx" presStyleIdx="1" presStyleCnt="2">
        <dgm:presLayoutVars>
          <dgm:bulletEnabled val="1"/>
        </dgm:presLayoutVars>
      </dgm:prSet>
      <dgm:spPr/>
      <dgm:t>
        <a:bodyPr/>
        <a:lstStyle/>
        <a:p>
          <a:endParaRPr lang="en-US"/>
        </a:p>
      </dgm:t>
    </dgm:pt>
    <dgm:pt modelId="{79C5127E-018D-4DEE-85DE-73DD6122D235}" type="pres">
      <dgm:prSet presAssocID="{5DF7C37B-C1B1-49DC-A7CF-8A1230DC2B88}" presName="parentText" presStyleLbl="node1" presStyleIdx="3" presStyleCnt="4">
        <dgm:presLayoutVars>
          <dgm:chMax val="0"/>
          <dgm:bulletEnabled val="1"/>
        </dgm:presLayoutVars>
      </dgm:prSet>
      <dgm:spPr/>
      <dgm:t>
        <a:bodyPr/>
        <a:lstStyle/>
        <a:p>
          <a:endParaRPr lang="en-US"/>
        </a:p>
      </dgm:t>
    </dgm:pt>
  </dgm:ptLst>
  <dgm:cxnLst>
    <dgm:cxn modelId="{D7A2B9F3-7D3A-4485-BF70-72D4DE76B794}" type="presOf" srcId="{0560C79A-19C8-4685-ADD5-4579D2F9CC65}" destId="{1B244BBB-3358-4E44-A587-1D49457C8712}" srcOrd="0" destOrd="0" presId="urn:microsoft.com/office/officeart/2005/8/layout/vList2"/>
    <dgm:cxn modelId="{927B2419-A548-4E64-BD0F-F679BDCD3FAF}" srcId="{BB382F2D-68F9-4D08-A83F-310C1E92F452}" destId="{DF9E26A8-53B1-40FE-AB70-6177579D9DB3}" srcOrd="1" destOrd="0" parTransId="{83A3B772-CAC6-4EEA-A40B-EB6AE8CD1C77}" sibTransId="{A3967E42-8F78-4920-81C2-4594CDA6CFE4}"/>
    <dgm:cxn modelId="{12688584-F9CF-431F-940F-F0EF5D130AB4}" type="presOf" srcId="{8E0C3FC4-128C-4C22-9CC1-69C66AC9A580}" destId="{8B7495E1-C04A-44F1-96B1-C8BCCC2A1219}" srcOrd="0" destOrd="0" presId="urn:microsoft.com/office/officeart/2005/8/layout/vList2"/>
    <dgm:cxn modelId="{974DE67B-1279-47A4-BA09-E369B2140987}" type="presOf" srcId="{3AF4ED58-91FD-4B0F-8DE5-D1A4EA18CC5E}" destId="{612165A9-87B1-41BA-9B63-F9C94F8B2387}" srcOrd="0" destOrd="1" presId="urn:microsoft.com/office/officeart/2005/8/layout/vList2"/>
    <dgm:cxn modelId="{5F834B5F-0858-4CDE-B722-0B19E87215AE}" srcId="{F376574D-7379-42DB-8F41-E9FBAD2FFB94}" destId="{5DF7C37B-C1B1-49DC-A7CF-8A1230DC2B88}" srcOrd="3" destOrd="0" parTransId="{3A7C57D4-B538-4854-BA83-1DF5E59F8D82}" sibTransId="{7E0CA893-8279-4263-8D89-1A65DD0AF59E}"/>
    <dgm:cxn modelId="{198FAFCC-84D9-4ACF-B442-14576A018A4E}" srcId="{0560C79A-19C8-4685-ADD5-4579D2F9CC65}" destId="{B8229822-4C25-49DD-B09F-1AABD24A727C}" srcOrd="0" destOrd="0" parTransId="{DA6D9432-0892-4B46-9208-E13C3C499723}" sibTransId="{FE74C93B-309E-47BB-ADED-4479271EE0D9}"/>
    <dgm:cxn modelId="{8A1A6ED2-07A4-416A-B97B-FA04B60327D2}" srcId="{F376574D-7379-42DB-8F41-E9FBAD2FFB94}" destId="{0764B0A8-D45A-4DE3-B7A6-6D4E605D761C}" srcOrd="0" destOrd="0" parTransId="{9F8E0C25-9B95-497C-8878-6527B84EA713}" sibTransId="{19B2D4AA-4088-4319-A5EC-F6FE210212DC}"/>
    <dgm:cxn modelId="{6A8626F0-60AF-46D2-9FA0-04BBD9A0738B}" type="presOf" srcId="{5DF7C37B-C1B1-49DC-A7CF-8A1230DC2B88}" destId="{79C5127E-018D-4DEE-85DE-73DD6122D235}" srcOrd="0" destOrd="0" presId="urn:microsoft.com/office/officeart/2005/8/layout/vList2"/>
    <dgm:cxn modelId="{C5648EED-74C1-4B50-9E5A-9E6C0F3DBF3C}" type="presOf" srcId="{B8229822-4C25-49DD-B09F-1AABD24A727C}" destId="{612165A9-87B1-41BA-9B63-F9C94F8B2387}" srcOrd="0" destOrd="0" presId="urn:microsoft.com/office/officeart/2005/8/layout/vList2"/>
    <dgm:cxn modelId="{5B87422C-ECF8-4FA8-9859-B9554957C88F}" srcId="{F376574D-7379-42DB-8F41-E9FBAD2FFB94}" destId="{0560C79A-19C8-4685-ADD5-4579D2F9CC65}" srcOrd="2" destOrd="0" parTransId="{9F7E97CA-9BB5-40E0-A8CC-C19AD02E16D7}" sibTransId="{B62B972E-346A-41B9-BCCC-DBF110138B8D}"/>
    <dgm:cxn modelId="{106EB827-5D5F-4215-8B52-C1E932F55526}" type="presOf" srcId="{0764B0A8-D45A-4DE3-B7A6-6D4E605D761C}" destId="{83086385-7DED-4BC2-B1B8-01FBC43A899A}" srcOrd="0" destOrd="0" presId="urn:microsoft.com/office/officeart/2005/8/layout/vList2"/>
    <dgm:cxn modelId="{166752D6-E250-4229-9DD1-D9ACBC349A6F}" srcId="{0560C79A-19C8-4685-ADD5-4579D2F9CC65}" destId="{3AF4ED58-91FD-4B0F-8DE5-D1A4EA18CC5E}" srcOrd="1" destOrd="0" parTransId="{CD765397-2152-4836-A7FF-873E8A64BA9D}" sibTransId="{F3C57534-753F-407E-A449-5DC3603FE550}"/>
    <dgm:cxn modelId="{BFECFE58-8584-4BF9-B444-C62ACDF0D9DE}" srcId="{F376574D-7379-42DB-8F41-E9FBAD2FFB94}" destId="{BB382F2D-68F9-4D08-A83F-310C1E92F452}" srcOrd="1" destOrd="0" parTransId="{3E2C510F-9CA8-4974-9B35-D3411186E1C6}" sibTransId="{D08B802D-76C9-4361-94F8-A89F46C5044C}"/>
    <dgm:cxn modelId="{4E2E636C-0A95-411F-A10A-B02591C07FC7}" type="presOf" srcId="{F376574D-7379-42DB-8F41-E9FBAD2FFB94}" destId="{9F08F6E1-B88A-4E49-AF87-71A80C9155CB}" srcOrd="0" destOrd="0" presId="urn:microsoft.com/office/officeart/2005/8/layout/vList2"/>
    <dgm:cxn modelId="{31809555-6D06-4DCC-9D98-FAEE0FC75F6D}" srcId="{BB382F2D-68F9-4D08-A83F-310C1E92F452}" destId="{8E0C3FC4-128C-4C22-9CC1-69C66AC9A580}" srcOrd="0" destOrd="0" parTransId="{B039D91A-FF36-4B6D-AA26-2468BC817BB2}" sibTransId="{BD4D7893-452E-4A5B-BDE3-5E6EB786BC12}"/>
    <dgm:cxn modelId="{4D989C3A-91B6-4395-A861-0A834A917C36}" type="presOf" srcId="{DF9E26A8-53B1-40FE-AB70-6177579D9DB3}" destId="{8B7495E1-C04A-44F1-96B1-C8BCCC2A1219}" srcOrd="0" destOrd="1" presId="urn:microsoft.com/office/officeart/2005/8/layout/vList2"/>
    <dgm:cxn modelId="{BF1228C8-FEEF-42E9-9FEB-DB0EB93D1E65}" type="presOf" srcId="{BB382F2D-68F9-4D08-A83F-310C1E92F452}" destId="{34E5D70E-E305-40A9-8B49-691F7F18E504}" srcOrd="0" destOrd="0" presId="urn:microsoft.com/office/officeart/2005/8/layout/vList2"/>
    <dgm:cxn modelId="{262A9CD8-BD20-4AA1-9119-AE37D45101A2}" type="presParOf" srcId="{9F08F6E1-B88A-4E49-AF87-71A80C9155CB}" destId="{83086385-7DED-4BC2-B1B8-01FBC43A899A}" srcOrd="0" destOrd="0" presId="urn:microsoft.com/office/officeart/2005/8/layout/vList2"/>
    <dgm:cxn modelId="{81DFE74A-65AB-406B-A359-887AF05A3E3A}" type="presParOf" srcId="{9F08F6E1-B88A-4E49-AF87-71A80C9155CB}" destId="{4453F496-C5A5-4E77-ACAD-125852E7750A}" srcOrd="1" destOrd="0" presId="urn:microsoft.com/office/officeart/2005/8/layout/vList2"/>
    <dgm:cxn modelId="{140A1604-9540-4D22-AC47-744ACB2677DC}" type="presParOf" srcId="{9F08F6E1-B88A-4E49-AF87-71A80C9155CB}" destId="{34E5D70E-E305-40A9-8B49-691F7F18E504}" srcOrd="2" destOrd="0" presId="urn:microsoft.com/office/officeart/2005/8/layout/vList2"/>
    <dgm:cxn modelId="{CD829D16-710C-4860-88FC-A7C87F1CB925}" type="presParOf" srcId="{9F08F6E1-B88A-4E49-AF87-71A80C9155CB}" destId="{8B7495E1-C04A-44F1-96B1-C8BCCC2A1219}" srcOrd="3" destOrd="0" presId="urn:microsoft.com/office/officeart/2005/8/layout/vList2"/>
    <dgm:cxn modelId="{867D9844-D6A1-4FD3-8090-D1CB6D33FD4C}" type="presParOf" srcId="{9F08F6E1-B88A-4E49-AF87-71A80C9155CB}" destId="{1B244BBB-3358-4E44-A587-1D49457C8712}" srcOrd="4" destOrd="0" presId="urn:microsoft.com/office/officeart/2005/8/layout/vList2"/>
    <dgm:cxn modelId="{4BA71BB7-579C-4619-9AF4-C17FCE6EB3BA}" type="presParOf" srcId="{9F08F6E1-B88A-4E49-AF87-71A80C9155CB}" destId="{612165A9-87B1-41BA-9B63-F9C94F8B2387}" srcOrd="5" destOrd="0" presId="urn:microsoft.com/office/officeart/2005/8/layout/vList2"/>
    <dgm:cxn modelId="{C327C887-A5AE-4ED6-A0D5-759012CB7188}" type="presParOf" srcId="{9F08F6E1-B88A-4E49-AF87-71A80C9155CB}" destId="{79C5127E-018D-4DEE-85DE-73DD6122D235}"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8FE4EF8-C0D0-4C4C-A303-1FDC1918D13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B6C0E5B-FCC2-412A-BED7-242AC8EAAF35}">
      <dgm:prSet phldrT="[Text]" custT="1"/>
      <dgm:spPr/>
      <dgm:t>
        <a:bodyPr/>
        <a:lstStyle/>
        <a:p>
          <a:r>
            <a:rPr lang="en-US" sz="2000" dirty="0" smtClean="0"/>
            <a:t>To update multiple you need to set a parameter 'multi' to true:</a:t>
          </a:r>
          <a:endParaRPr lang="en-US" sz="2000" dirty="0"/>
        </a:p>
      </dgm:t>
    </dgm:pt>
    <dgm:pt modelId="{97E0F71E-A9CC-41BD-9530-0AD02A47D9DE}" type="parTrans" cxnId="{F915F41D-C268-4C4F-B4C6-497C9807B90E}">
      <dgm:prSet/>
      <dgm:spPr/>
      <dgm:t>
        <a:bodyPr/>
        <a:lstStyle/>
        <a:p>
          <a:endParaRPr lang="en-US" sz="2000"/>
        </a:p>
      </dgm:t>
    </dgm:pt>
    <dgm:pt modelId="{420FE335-6CD3-41B7-A362-D856FC6F15ED}" type="sibTrans" cxnId="{F915F41D-C268-4C4F-B4C6-497C9807B90E}">
      <dgm:prSet/>
      <dgm:spPr/>
      <dgm:t>
        <a:bodyPr/>
        <a:lstStyle/>
        <a:p>
          <a:endParaRPr lang="en-US" sz="2000"/>
        </a:p>
      </dgm:t>
    </dgm:pt>
    <dgm:pt modelId="{49BFDAA6-A031-4387-9D0D-F19D398219C7}">
      <dgm:prSet phldrT="[Text]" custT="1"/>
      <dgm:spPr/>
      <dgm:t>
        <a:bodyPr/>
        <a:lstStyle/>
        <a:p>
          <a:r>
            <a:rPr lang="en-US" sz="2000" dirty="0" smtClean="0"/>
            <a:t> &gt;db.employees.update({firstname:"shilpa"},{$set:{age:66}},{multi:true})</a:t>
          </a:r>
          <a:endParaRPr lang="en-US" sz="2000" dirty="0"/>
        </a:p>
      </dgm:t>
    </dgm:pt>
    <dgm:pt modelId="{275079B9-9C0C-4103-9D90-5DDC155171B3}" type="sibTrans" cxnId="{D1679097-F7ED-4C55-B049-A25B324172AD}">
      <dgm:prSet/>
      <dgm:spPr/>
      <dgm:t>
        <a:bodyPr/>
        <a:lstStyle/>
        <a:p>
          <a:endParaRPr lang="en-US" sz="2000"/>
        </a:p>
      </dgm:t>
    </dgm:pt>
    <dgm:pt modelId="{4F4B3201-35DD-49AE-A6D1-7179F4E86982}" type="parTrans" cxnId="{D1679097-F7ED-4C55-B049-A25B324172AD}">
      <dgm:prSet/>
      <dgm:spPr/>
      <dgm:t>
        <a:bodyPr/>
        <a:lstStyle/>
        <a:p>
          <a:endParaRPr lang="en-US" sz="2000"/>
        </a:p>
      </dgm:t>
    </dgm:pt>
    <dgm:pt modelId="{8123A630-E314-4533-81D9-149C792346FF}">
      <dgm:prSet phldrT="[Text]" custT="1"/>
      <dgm:spPr/>
      <dgm:t>
        <a:bodyPr/>
        <a:lstStyle/>
        <a:p>
          <a:endParaRPr lang="en-US" sz="2000" dirty="0"/>
        </a:p>
      </dgm:t>
    </dgm:pt>
    <dgm:pt modelId="{ED54CF06-BBA3-4771-B30F-06FE839173F7}" type="parTrans" cxnId="{9087434A-FEE8-4F7C-906C-58D3DACCB4B0}">
      <dgm:prSet/>
      <dgm:spPr/>
      <dgm:t>
        <a:bodyPr/>
        <a:lstStyle/>
        <a:p>
          <a:endParaRPr lang="en-US"/>
        </a:p>
      </dgm:t>
    </dgm:pt>
    <dgm:pt modelId="{F6B5E936-C5D9-4822-B8AC-74CB630AD526}" type="sibTrans" cxnId="{9087434A-FEE8-4F7C-906C-58D3DACCB4B0}">
      <dgm:prSet/>
      <dgm:spPr/>
      <dgm:t>
        <a:bodyPr/>
        <a:lstStyle/>
        <a:p>
          <a:endParaRPr lang="en-US"/>
        </a:p>
      </dgm:t>
    </dgm:pt>
    <dgm:pt modelId="{C3B8161C-4659-4909-9668-B5F576A02C94}" type="pres">
      <dgm:prSet presAssocID="{F8FE4EF8-C0D0-4C4C-A303-1FDC1918D13B}" presName="linear" presStyleCnt="0">
        <dgm:presLayoutVars>
          <dgm:animLvl val="lvl"/>
          <dgm:resizeHandles val="exact"/>
        </dgm:presLayoutVars>
      </dgm:prSet>
      <dgm:spPr/>
      <dgm:t>
        <a:bodyPr/>
        <a:lstStyle/>
        <a:p>
          <a:endParaRPr lang="en-US"/>
        </a:p>
      </dgm:t>
    </dgm:pt>
    <dgm:pt modelId="{2DE3E766-166D-4623-9D08-884F068D2D0F}" type="pres">
      <dgm:prSet presAssocID="{6B6C0E5B-FCC2-412A-BED7-242AC8EAAF35}" presName="parentText" presStyleLbl="node1" presStyleIdx="0" presStyleCnt="1">
        <dgm:presLayoutVars>
          <dgm:chMax val="0"/>
          <dgm:bulletEnabled val="1"/>
        </dgm:presLayoutVars>
      </dgm:prSet>
      <dgm:spPr/>
      <dgm:t>
        <a:bodyPr/>
        <a:lstStyle/>
        <a:p>
          <a:endParaRPr lang="en-US"/>
        </a:p>
      </dgm:t>
    </dgm:pt>
    <dgm:pt modelId="{7D9E5DBC-532C-4B39-A93C-588B83BBB31C}" type="pres">
      <dgm:prSet presAssocID="{6B6C0E5B-FCC2-412A-BED7-242AC8EAAF35}" presName="childText" presStyleLbl="revTx" presStyleIdx="0" presStyleCnt="1" custLinFactNeighborY="6480">
        <dgm:presLayoutVars>
          <dgm:bulletEnabled val="1"/>
        </dgm:presLayoutVars>
      </dgm:prSet>
      <dgm:spPr/>
      <dgm:t>
        <a:bodyPr/>
        <a:lstStyle/>
        <a:p>
          <a:endParaRPr lang="en-US"/>
        </a:p>
      </dgm:t>
    </dgm:pt>
  </dgm:ptLst>
  <dgm:cxnLst>
    <dgm:cxn modelId="{9087434A-FEE8-4F7C-906C-58D3DACCB4B0}" srcId="{6B6C0E5B-FCC2-412A-BED7-242AC8EAAF35}" destId="{8123A630-E314-4533-81D9-149C792346FF}" srcOrd="0" destOrd="0" parTransId="{ED54CF06-BBA3-4771-B30F-06FE839173F7}" sibTransId="{F6B5E936-C5D9-4822-B8AC-74CB630AD526}"/>
    <dgm:cxn modelId="{D1679097-F7ED-4C55-B049-A25B324172AD}" srcId="{6B6C0E5B-FCC2-412A-BED7-242AC8EAAF35}" destId="{49BFDAA6-A031-4387-9D0D-F19D398219C7}" srcOrd="1" destOrd="0" parTransId="{4F4B3201-35DD-49AE-A6D1-7179F4E86982}" sibTransId="{275079B9-9C0C-4103-9D90-5DDC155171B3}"/>
    <dgm:cxn modelId="{DC065BB6-C1EC-47DE-82D6-04FE17FD8A5B}" type="presOf" srcId="{8123A630-E314-4533-81D9-149C792346FF}" destId="{7D9E5DBC-532C-4B39-A93C-588B83BBB31C}" srcOrd="0" destOrd="0" presId="urn:microsoft.com/office/officeart/2005/8/layout/vList2"/>
    <dgm:cxn modelId="{F915F41D-C268-4C4F-B4C6-497C9807B90E}" srcId="{F8FE4EF8-C0D0-4C4C-A303-1FDC1918D13B}" destId="{6B6C0E5B-FCC2-412A-BED7-242AC8EAAF35}" srcOrd="0" destOrd="0" parTransId="{97E0F71E-A9CC-41BD-9530-0AD02A47D9DE}" sibTransId="{420FE335-6CD3-41B7-A362-D856FC6F15ED}"/>
    <dgm:cxn modelId="{4589DC3B-5A6C-45B3-B109-B91EE66D2D6D}" type="presOf" srcId="{F8FE4EF8-C0D0-4C4C-A303-1FDC1918D13B}" destId="{C3B8161C-4659-4909-9668-B5F576A02C94}" srcOrd="0" destOrd="0" presId="urn:microsoft.com/office/officeart/2005/8/layout/vList2"/>
    <dgm:cxn modelId="{3487217A-2F1E-44B4-8F0A-E7C192BE9863}" type="presOf" srcId="{49BFDAA6-A031-4387-9D0D-F19D398219C7}" destId="{7D9E5DBC-532C-4B39-A93C-588B83BBB31C}" srcOrd="0" destOrd="1" presId="urn:microsoft.com/office/officeart/2005/8/layout/vList2"/>
    <dgm:cxn modelId="{81DFFEC7-4E42-4D52-8D91-7D1740807CC1}" type="presOf" srcId="{6B6C0E5B-FCC2-412A-BED7-242AC8EAAF35}" destId="{2DE3E766-166D-4623-9D08-884F068D2D0F}" srcOrd="0" destOrd="0" presId="urn:microsoft.com/office/officeart/2005/8/layout/vList2"/>
    <dgm:cxn modelId="{3E0764EC-E2CA-40CD-9171-22D2C26DF9A8}" type="presParOf" srcId="{C3B8161C-4659-4909-9668-B5F576A02C94}" destId="{2DE3E766-166D-4623-9D08-884F068D2D0F}" srcOrd="0" destOrd="0" presId="urn:microsoft.com/office/officeart/2005/8/layout/vList2"/>
    <dgm:cxn modelId="{C4E337B1-719D-4E12-970A-1FDAB4940640}" type="presParOf" srcId="{C3B8161C-4659-4909-9668-B5F576A02C94}" destId="{7D9E5DBC-532C-4B39-A93C-588B83BBB31C}"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868686F-9144-487E-8CCD-2FF7A1E2011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2EEDC2E-7551-493B-89DB-652842DD2FF3}">
      <dgm:prSet phldrT="[Text]" custT="1"/>
      <dgm:spPr/>
      <dgm:t>
        <a:bodyPr/>
        <a:lstStyle/>
        <a:p>
          <a:r>
            <a:rPr lang="en-US" sz="1800" b="1" dirty="0" smtClean="0"/>
            <a:t>Upsert: </a:t>
          </a:r>
          <a:r>
            <a:rPr lang="en-US" sz="1800" dirty="0" smtClean="0"/>
            <a:t>A kind of update that either updates the first document matched in the provided query selector or, if no document matches, inserts a new document having the fields implied by the query selector and the update operation. The default value is false. When true, the update() method will update an existing document that matches the query selection criteria </a:t>
          </a:r>
          <a:r>
            <a:rPr lang="en-US" sz="1800" b="1" dirty="0" smtClean="0"/>
            <a:t>or</a:t>
          </a:r>
          <a:r>
            <a:rPr lang="en-US" sz="1800" dirty="0" smtClean="0"/>
            <a:t> if no document matches the criteria, insert a new document with the fields and values of the update parameter and if the update included only update operators, the</a:t>
          </a:r>
          <a:r>
            <a:rPr lang="en-US" sz="1800" b="1" dirty="0" smtClean="0"/>
            <a:t> </a:t>
          </a:r>
          <a:r>
            <a:rPr lang="en-US" sz="1800" dirty="0" smtClean="0"/>
            <a:t>query parameter as well.</a:t>
          </a:r>
          <a:endParaRPr lang="en-US" sz="1800" dirty="0"/>
        </a:p>
      </dgm:t>
    </dgm:pt>
    <dgm:pt modelId="{DD6ACC61-E3A4-4113-B7A7-93C0F3DBE9AE}" type="parTrans" cxnId="{C1BC465B-4504-46AC-B275-4245B0BFE4A5}">
      <dgm:prSet/>
      <dgm:spPr/>
      <dgm:t>
        <a:bodyPr/>
        <a:lstStyle/>
        <a:p>
          <a:endParaRPr lang="en-US" sz="1800"/>
        </a:p>
      </dgm:t>
    </dgm:pt>
    <dgm:pt modelId="{33D82B5E-EB9E-4499-ADF9-F2BDC3D0B591}" type="sibTrans" cxnId="{C1BC465B-4504-46AC-B275-4245B0BFE4A5}">
      <dgm:prSet/>
      <dgm:spPr/>
      <dgm:t>
        <a:bodyPr/>
        <a:lstStyle/>
        <a:p>
          <a:endParaRPr lang="en-US" sz="1800"/>
        </a:p>
      </dgm:t>
    </dgm:pt>
    <dgm:pt modelId="{FBF09A4B-3F24-4AED-8294-21AB06538CA4}">
      <dgm:prSet phldrT="[Text]" custT="1"/>
      <dgm:spPr/>
      <dgm:t>
        <a:bodyPr/>
        <a:lstStyle/>
        <a:p>
          <a:r>
            <a:rPr lang="en-US" sz="1800" b="1" dirty="0" smtClean="0"/>
            <a:t>Multi</a:t>
          </a:r>
          <a:r>
            <a:rPr lang="en-US" sz="1800" dirty="0" smtClean="0"/>
            <a:t> (optional): Specifies whether to update multiple documents that meet the query criteria.</a:t>
          </a:r>
          <a:endParaRPr lang="en-US" sz="1800" dirty="0"/>
        </a:p>
      </dgm:t>
    </dgm:pt>
    <dgm:pt modelId="{A3D6D2B2-8BA4-4764-A1A9-121DCF837A08}" type="parTrans" cxnId="{E3914552-F389-447D-B7A5-4490285482AC}">
      <dgm:prSet/>
      <dgm:spPr/>
      <dgm:t>
        <a:bodyPr/>
        <a:lstStyle/>
        <a:p>
          <a:endParaRPr lang="en-US" sz="1800"/>
        </a:p>
      </dgm:t>
    </dgm:pt>
    <dgm:pt modelId="{197D1165-6C87-455F-9276-F69343967196}" type="sibTrans" cxnId="{E3914552-F389-447D-B7A5-4490285482AC}">
      <dgm:prSet/>
      <dgm:spPr/>
      <dgm:t>
        <a:bodyPr/>
        <a:lstStyle/>
        <a:p>
          <a:endParaRPr lang="en-US" sz="1800"/>
        </a:p>
      </dgm:t>
    </dgm:pt>
    <dgm:pt modelId="{EAE9227A-9002-4329-8FC9-AD9B0042ED6F}">
      <dgm:prSet phldrT="[Text]" custT="1"/>
      <dgm:spPr/>
      <dgm:t>
        <a:bodyPr/>
        <a:lstStyle/>
        <a:p>
          <a:r>
            <a:rPr lang="en-US" sz="1800" dirty="0" smtClean="0"/>
            <a:t>When not specified, the default value is false and the update() method updates a single document that meet the query criteria.</a:t>
          </a:r>
          <a:endParaRPr lang="en-US" sz="1800" dirty="0"/>
        </a:p>
      </dgm:t>
    </dgm:pt>
    <dgm:pt modelId="{8BF33B62-2FE1-400E-AB84-22546CF5B8BD}" type="parTrans" cxnId="{67EB9AF9-0E3F-40B4-9494-6DCDA6B945AB}">
      <dgm:prSet/>
      <dgm:spPr/>
      <dgm:t>
        <a:bodyPr/>
        <a:lstStyle/>
        <a:p>
          <a:endParaRPr lang="en-US" sz="1800"/>
        </a:p>
      </dgm:t>
    </dgm:pt>
    <dgm:pt modelId="{1C1A55E6-2F73-44B8-9EEB-2543F9485298}" type="sibTrans" cxnId="{67EB9AF9-0E3F-40B4-9494-6DCDA6B945AB}">
      <dgm:prSet/>
      <dgm:spPr/>
      <dgm:t>
        <a:bodyPr/>
        <a:lstStyle/>
        <a:p>
          <a:endParaRPr lang="en-US" sz="1800"/>
        </a:p>
      </dgm:t>
    </dgm:pt>
    <dgm:pt modelId="{E5097680-8388-49BB-B9EA-55404630A979}">
      <dgm:prSet phldrT="[Text]" custT="1"/>
      <dgm:spPr/>
      <dgm:t>
        <a:bodyPr/>
        <a:lstStyle/>
        <a:p>
          <a:r>
            <a:rPr lang="en-US" sz="1800" dirty="0" smtClean="0"/>
            <a:t>When true, the update() method updates all documents that meet the query criteria.</a:t>
          </a:r>
          <a:endParaRPr lang="en-US" sz="1800" dirty="0"/>
        </a:p>
      </dgm:t>
    </dgm:pt>
    <dgm:pt modelId="{9DD83401-A729-4A8B-B37F-40C036F103BF}" type="parTrans" cxnId="{53478EF3-4947-4CF7-B9C1-4545BBA04067}">
      <dgm:prSet/>
      <dgm:spPr/>
      <dgm:t>
        <a:bodyPr/>
        <a:lstStyle/>
        <a:p>
          <a:endParaRPr lang="en-US" sz="1800"/>
        </a:p>
      </dgm:t>
    </dgm:pt>
    <dgm:pt modelId="{CDC85D5C-7C66-4A12-B79F-2392B63F6D76}" type="sibTrans" cxnId="{53478EF3-4947-4CF7-B9C1-4545BBA04067}">
      <dgm:prSet/>
      <dgm:spPr/>
      <dgm:t>
        <a:bodyPr/>
        <a:lstStyle/>
        <a:p>
          <a:endParaRPr lang="en-US" sz="1800"/>
        </a:p>
      </dgm:t>
    </dgm:pt>
    <dgm:pt modelId="{166B52D2-342B-4183-97D8-6B718DFA5F1A}" type="pres">
      <dgm:prSet presAssocID="{8868686F-9144-487E-8CCD-2FF7A1E2011B}" presName="linear" presStyleCnt="0">
        <dgm:presLayoutVars>
          <dgm:animLvl val="lvl"/>
          <dgm:resizeHandles val="exact"/>
        </dgm:presLayoutVars>
      </dgm:prSet>
      <dgm:spPr/>
      <dgm:t>
        <a:bodyPr/>
        <a:lstStyle/>
        <a:p>
          <a:endParaRPr lang="en-US"/>
        </a:p>
      </dgm:t>
    </dgm:pt>
    <dgm:pt modelId="{A32DD461-17F9-4946-9F8A-492816BDD735}" type="pres">
      <dgm:prSet presAssocID="{02EEDC2E-7551-493B-89DB-652842DD2FF3}" presName="parentText" presStyleLbl="node1" presStyleIdx="0" presStyleCnt="4" custScaleY="157842">
        <dgm:presLayoutVars>
          <dgm:chMax val="0"/>
          <dgm:bulletEnabled val="1"/>
        </dgm:presLayoutVars>
      </dgm:prSet>
      <dgm:spPr/>
      <dgm:t>
        <a:bodyPr/>
        <a:lstStyle/>
        <a:p>
          <a:endParaRPr lang="en-US"/>
        </a:p>
      </dgm:t>
    </dgm:pt>
    <dgm:pt modelId="{D138BCD5-C8C4-4E32-8631-DA4A52116A9C}" type="pres">
      <dgm:prSet presAssocID="{33D82B5E-EB9E-4499-ADF9-F2BDC3D0B591}" presName="spacer" presStyleCnt="0"/>
      <dgm:spPr/>
    </dgm:pt>
    <dgm:pt modelId="{F7053AFC-38F5-4892-842A-516F69F09814}" type="pres">
      <dgm:prSet presAssocID="{FBF09A4B-3F24-4AED-8294-21AB06538CA4}" presName="parentText" presStyleLbl="node1" presStyleIdx="1" presStyleCnt="4" custScaleY="72263">
        <dgm:presLayoutVars>
          <dgm:chMax val="0"/>
          <dgm:bulletEnabled val="1"/>
        </dgm:presLayoutVars>
      </dgm:prSet>
      <dgm:spPr/>
      <dgm:t>
        <a:bodyPr/>
        <a:lstStyle/>
        <a:p>
          <a:endParaRPr lang="en-US"/>
        </a:p>
      </dgm:t>
    </dgm:pt>
    <dgm:pt modelId="{DF19DDC1-E502-4F70-9EF5-863AEACC6A22}" type="pres">
      <dgm:prSet presAssocID="{197D1165-6C87-455F-9276-F69343967196}" presName="spacer" presStyleCnt="0"/>
      <dgm:spPr/>
    </dgm:pt>
    <dgm:pt modelId="{FEBCDEFB-B9F1-4FF6-923F-37378D9C5F69}" type="pres">
      <dgm:prSet presAssocID="{EAE9227A-9002-4329-8FC9-AD9B0042ED6F}" presName="parentText" presStyleLbl="node1" presStyleIdx="2" presStyleCnt="4" custScaleY="72263">
        <dgm:presLayoutVars>
          <dgm:chMax val="0"/>
          <dgm:bulletEnabled val="1"/>
        </dgm:presLayoutVars>
      </dgm:prSet>
      <dgm:spPr/>
      <dgm:t>
        <a:bodyPr/>
        <a:lstStyle/>
        <a:p>
          <a:endParaRPr lang="en-US"/>
        </a:p>
      </dgm:t>
    </dgm:pt>
    <dgm:pt modelId="{67F522CD-329D-40D2-AAEB-CA2050E8EBEB}" type="pres">
      <dgm:prSet presAssocID="{1C1A55E6-2F73-44B8-9EEB-2543F9485298}" presName="spacer" presStyleCnt="0"/>
      <dgm:spPr/>
    </dgm:pt>
    <dgm:pt modelId="{FC73E39F-1D0E-46E7-A7F6-003AC7CB910E}" type="pres">
      <dgm:prSet presAssocID="{E5097680-8388-49BB-B9EA-55404630A979}" presName="parentText" presStyleLbl="node1" presStyleIdx="3" presStyleCnt="4" custScaleY="72263">
        <dgm:presLayoutVars>
          <dgm:chMax val="0"/>
          <dgm:bulletEnabled val="1"/>
        </dgm:presLayoutVars>
      </dgm:prSet>
      <dgm:spPr/>
      <dgm:t>
        <a:bodyPr/>
        <a:lstStyle/>
        <a:p>
          <a:endParaRPr lang="en-US"/>
        </a:p>
      </dgm:t>
    </dgm:pt>
  </dgm:ptLst>
  <dgm:cxnLst>
    <dgm:cxn modelId="{FA60F69A-F669-425B-9860-F4C5D874F3E9}" type="presOf" srcId="{E5097680-8388-49BB-B9EA-55404630A979}" destId="{FC73E39F-1D0E-46E7-A7F6-003AC7CB910E}" srcOrd="0" destOrd="0" presId="urn:microsoft.com/office/officeart/2005/8/layout/vList2"/>
    <dgm:cxn modelId="{FF677A11-F6CD-4B58-ABE6-04CB978A583A}" type="presOf" srcId="{8868686F-9144-487E-8CCD-2FF7A1E2011B}" destId="{166B52D2-342B-4183-97D8-6B718DFA5F1A}" srcOrd="0" destOrd="0" presId="urn:microsoft.com/office/officeart/2005/8/layout/vList2"/>
    <dgm:cxn modelId="{57A32C9A-9B04-4FE4-9120-136F61BB94C3}" type="presOf" srcId="{02EEDC2E-7551-493B-89DB-652842DD2FF3}" destId="{A32DD461-17F9-4946-9F8A-492816BDD735}" srcOrd="0" destOrd="0" presId="urn:microsoft.com/office/officeart/2005/8/layout/vList2"/>
    <dgm:cxn modelId="{C1BC465B-4504-46AC-B275-4245B0BFE4A5}" srcId="{8868686F-9144-487E-8CCD-2FF7A1E2011B}" destId="{02EEDC2E-7551-493B-89DB-652842DD2FF3}" srcOrd="0" destOrd="0" parTransId="{DD6ACC61-E3A4-4113-B7A7-93C0F3DBE9AE}" sibTransId="{33D82B5E-EB9E-4499-ADF9-F2BDC3D0B591}"/>
    <dgm:cxn modelId="{53478EF3-4947-4CF7-B9C1-4545BBA04067}" srcId="{8868686F-9144-487E-8CCD-2FF7A1E2011B}" destId="{E5097680-8388-49BB-B9EA-55404630A979}" srcOrd="3" destOrd="0" parTransId="{9DD83401-A729-4A8B-B37F-40C036F103BF}" sibTransId="{CDC85D5C-7C66-4A12-B79F-2392B63F6D76}"/>
    <dgm:cxn modelId="{A26A9621-54F6-4A19-853A-2D15D8D6CEFE}" type="presOf" srcId="{FBF09A4B-3F24-4AED-8294-21AB06538CA4}" destId="{F7053AFC-38F5-4892-842A-516F69F09814}" srcOrd="0" destOrd="0" presId="urn:microsoft.com/office/officeart/2005/8/layout/vList2"/>
    <dgm:cxn modelId="{E3914552-F389-447D-B7A5-4490285482AC}" srcId="{8868686F-9144-487E-8CCD-2FF7A1E2011B}" destId="{FBF09A4B-3F24-4AED-8294-21AB06538CA4}" srcOrd="1" destOrd="0" parTransId="{A3D6D2B2-8BA4-4764-A1A9-121DCF837A08}" sibTransId="{197D1165-6C87-455F-9276-F69343967196}"/>
    <dgm:cxn modelId="{67EB9AF9-0E3F-40B4-9494-6DCDA6B945AB}" srcId="{8868686F-9144-487E-8CCD-2FF7A1E2011B}" destId="{EAE9227A-9002-4329-8FC9-AD9B0042ED6F}" srcOrd="2" destOrd="0" parTransId="{8BF33B62-2FE1-400E-AB84-22546CF5B8BD}" sibTransId="{1C1A55E6-2F73-44B8-9EEB-2543F9485298}"/>
    <dgm:cxn modelId="{BC02ABE2-07B9-46CB-BCCB-EF618526096C}" type="presOf" srcId="{EAE9227A-9002-4329-8FC9-AD9B0042ED6F}" destId="{FEBCDEFB-B9F1-4FF6-923F-37378D9C5F69}" srcOrd="0" destOrd="0" presId="urn:microsoft.com/office/officeart/2005/8/layout/vList2"/>
    <dgm:cxn modelId="{6C016A24-BB8E-42A8-98E0-8CFD3EC3CD3E}" type="presParOf" srcId="{166B52D2-342B-4183-97D8-6B718DFA5F1A}" destId="{A32DD461-17F9-4946-9F8A-492816BDD735}" srcOrd="0" destOrd="0" presId="urn:microsoft.com/office/officeart/2005/8/layout/vList2"/>
    <dgm:cxn modelId="{654713A1-CBDC-4758-B463-02DB35DF7FEF}" type="presParOf" srcId="{166B52D2-342B-4183-97D8-6B718DFA5F1A}" destId="{D138BCD5-C8C4-4E32-8631-DA4A52116A9C}" srcOrd="1" destOrd="0" presId="urn:microsoft.com/office/officeart/2005/8/layout/vList2"/>
    <dgm:cxn modelId="{83AB8CBA-CB37-40C9-9C02-52DFD064EC3C}" type="presParOf" srcId="{166B52D2-342B-4183-97D8-6B718DFA5F1A}" destId="{F7053AFC-38F5-4892-842A-516F69F09814}" srcOrd="2" destOrd="0" presId="urn:microsoft.com/office/officeart/2005/8/layout/vList2"/>
    <dgm:cxn modelId="{DBCA958D-8FCA-49A6-87BD-F690E99A5412}" type="presParOf" srcId="{166B52D2-342B-4183-97D8-6B718DFA5F1A}" destId="{DF19DDC1-E502-4F70-9EF5-863AEACC6A22}" srcOrd="3" destOrd="0" presId="urn:microsoft.com/office/officeart/2005/8/layout/vList2"/>
    <dgm:cxn modelId="{D573AC5D-23D0-484A-A60E-B772FBDA7811}" type="presParOf" srcId="{166B52D2-342B-4183-97D8-6B718DFA5F1A}" destId="{FEBCDEFB-B9F1-4FF6-923F-37378D9C5F69}" srcOrd="4" destOrd="0" presId="urn:microsoft.com/office/officeart/2005/8/layout/vList2"/>
    <dgm:cxn modelId="{F7A9BFBD-9B19-4746-83DA-1912493BAC88}" type="presParOf" srcId="{166B52D2-342B-4183-97D8-6B718DFA5F1A}" destId="{67F522CD-329D-40D2-AAEB-CA2050E8EBEB}" srcOrd="5" destOrd="0" presId="urn:microsoft.com/office/officeart/2005/8/layout/vList2"/>
    <dgm:cxn modelId="{E9B8DA04-952E-4D41-B4A4-01FB0C9D697F}" type="presParOf" srcId="{166B52D2-342B-4183-97D8-6B718DFA5F1A}" destId="{FC73E39F-1D0E-46E7-A7F6-003AC7CB910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2394C5-0AFD-4DC1-AB3B-FB40A8D91A15}">
      <dsp:nvSpPr>
        <dsp:cNvPr id="0" name=""/>
        <dsp:cNvSpPr/>
      </dsp:nvSpPr>
      <dsp:spPr>
        <a:xfrm>
          <a:off x="0" y="184588"/>
          <a:ext cx="7582001" cy="149940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insert( &lt;document&gt; ) </a:t>
          </a:r>
          <a:endParaRPr lang="en-US" sz="2000" kern="1200" dirty="0"/>
        </a:p>
        <a:p>
          <a:pPr marL="228600" lvl="1" indent="-228600" algn="l" defTabSz="889000">
            <a:lnSpc>
              <a:spcPct val="90000"/>
            </a:lnSpc>
            <a:spcBef>
              <a:spcPct val="0"/>
            </a:spcBef>
            <a:spcAft>
              <a:spcPct val="15000"/>
            </a:spcAft>
            <a:buChar char="••"/>
          </a:pPr>
          <a:r>
            <a:rPr lang="hu-HU" sz="2000" kern="1200" smtClean="0"/>
            <a:t>db.collection.save( &lt;document&gt; ) </a:t>
          </a:r>
          <a:endParaRPr lang="hu-HU" sz="2000" kern="1200" dirty="0" smtClean="0"/>
        </a:p>
        <a:p>
          <a:pPr marL="228600" lvl="1" indent="-228600" algn="l" defTabSz="889000">
            <a:lnSpc>
              <a:spcPct val="90000"/>
            </a:lnSpc>
            <a:spcBef>
              <a:spcPct val="0"/>
            </a:spcBef>
            <a:spcAft>
              <a:spcPct val="15000"/>
            </a:spcAft>
            <a:buChar char="••"/>
          </a:pPr>
          <a:r>
            <a:rPr lang="hu-HU" sz="2000" kern="1200" dirty="0" smtClean="0"/>
            <a:t>db.collection.update( &lt;query&gt;, &lt;update&gt;, { upsert: true } ) </a:t>
          </a:r>
        </a:p>
      </dsp:txBody>
      <dsp:txXfrm>
        <a:off x="0" y="184588"/>
        <a:ext cx="7582001" cy="1499400"/>
      </dsp:txXfrm>
    </dsp:sp>
    <dsp:sp modelId="{9347BFB2-DB28-475A-80CC-F506CD54F3F5}">
      <dsp:nvSpPr>
        <dsp:cNvPr id="0" name=""/>
        <dsp:cNvSpPr/>
      </dsp:nvSpPr>
      <dsp:spPr>
        <a:xfrm>
          <a:off x="379100" y="8126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Create</a:t>
          </a:r>
          <a:endParaRPr lang="en-US" sz="2000" kern="1200" dirty="0"/>
        </a:p>
      </dsp:txBody>
      <dsp:txXfrm>
        <a:off x="389187" y="91355"/>
        <a:ext cx="5287226" cy="186466"/>
      </dsp:txXfrm>
    </dsp:sp>
    <dsp:sp modelId="{8AF9A7BD-878F-4365-BC3C-32E0C76E47FD}">
      <dsp:nvSpPr>
        <dsp:cNvPr id="0" name=""/>
        <dsp:cNvSpPr/>
      </dsp:nvSpPr>
      <dsp:spPr>
        <a:xfrm>
          <a:off x="0" y="1825108"/>
          <a:ext cx="7582001" cy="904049"/>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find( &lt;query&gt;, &lt;projection&gt; )</a:t>
          </a:r>
          <a:endParaRPr lang="en-US" sz="2000" kern="1200" dirty="0"/>
        </a:p>
        <a:p>
          <a:pPr marL="228600" lvl="1" indent="-228600" algn="l" defTabSz="889000">
            <a:lnSpc>
              <a:spcPct val="90000"/>
            </a:lnSpc>
            <a:spcBef>
              <a:spcPct val="0"/>
            </a:spcBef>
            <a:spcAft>
              <a:spcPct val="15000"/>
            </a:spcAft>
            <a:buChar char="••"/>
          </a:pPr>
          <a:r>
            <a:rPr lang="hu-HU" sz="2000" kern="1200" dirty="0" smtClean="0"/>
            <a:t>db.collection.findOne( &lt;query&gt;, &lt;projection&gt; ) </a:t>
          </a:r>
        </a:p>
      </dsp:txBody>
      <dsp:txXfrm>
        <a:off x="0" y="1825108"/>
        <a:ext cx="7582001" cy="904049"/>
      </dsp:txXfrm>
    </dsp:sp>
    <dsp:sp modelId="{5C94E0A5-5048-43D3-BFF9-9C2EB3349FDA}">
      <dsp:nvSpPr>
        <dsp:cNvPr id="0" name=""/>
        <dsp:cNvSpPr/>
      </dsp:nvSpPr>
      <dsp:spPr>
        <a:xfrm>
          <a:off x="379100" y="172178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Read</a:t>
          </a:r>
          <a:endParaRPr lang="en-US" sz="2000" kern="1200" dirty="0"/>
        </a:p>
      </dsp:txBody>
      <dsp:txXfrm>
        <a:off x="389187" y="1731875"/>
        <a:ext cx="5287226" cy="186466"/>
      </dsp:txXfrm>
    </dsp:sp>
    <dsp:sp modelId="{034F2A86-E329-476B-A9C5-A6FA9EEC81E4}">
      <dsp:nvSpPr>
        <dsp:cNvPr id="0" name=""/>
        <dsp:cNvSpPr/>
      </dsp:nvSpPr>
      <dsp:spPr>
        <a:xfrm>
          <a:off x="0" y="2870278"/>
          <a:ext cx="7582001" cy="85995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update( &lt;query&gt;, &lt;update&gt;, &lt;options&gt; ) </a:t>
          </a:r>
          <a:endParaRPr lang="en-US" sz="2000" kern="1200" dirty="0"/>
        </a:p>
      </dsp:txBody>
      <dsp:txXfrm>
        <a:off x="0" y="2870278"/>
        <a:ext cx="7582001" cy="859950"/>
      </dsp:txXfrm>
    </dsp:sp>
    <dsp:sp modelId="{E5C0BAA8-AAFE-4AC3-9DBF-9D70A9686A2E}">
      <dsp:nvSpPr>
        <dsp:cNvPr id="0" name=""/>
        <dsp:cNvSpPr/>
      </dsp:nvSpPr>
      <dsp:spPr>
        <a:xfrm>
          <a:off x="379100" y="276695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Update</a:t>
          </a:r>
          <a:endParaRPr lang="en-US" sz="2000" kern="1200" dirty="0"/>
        </a:p>
      </dsp:txBody>
      <dsp:txXfrm>
        <a:off x="389187" y="2777045"/>
        <a:ext cx="5287226" cy="186466"/>
      </dsp:txXfrm>
    </dsp:sp>
    <dsp:sp modelId="{E481EFDC-E508-47D2-A7AF-DACCF3E1C511}">
      <dsp:nvSpPr>
        <dsp:cNvPr id="0" name=""/>
        <dsp:cNvSpPr/>
      </dsp:nvSpPr>
      <dsp:spPr>
        <a:xfrm>
          <a:off x="0" y="3871347"/>
          <a:ext cx="7582001" cy="57330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remove( &lt;query&gt;, &lt;justOne&gt; ) </a:t>
          </a:r>
          <a:endParaRPr lang="en-US" sz="2000" kern="1200" dirty="0"/>
        </a:p>
      </dsp:txBody>
      <dsp:txXfrm>
        <a:off x="0" y="3871347"/>
        <a:ext cx="7582001" cy="573300"/>
      </dsp:txXfrm>
    </dsp:sp>
    <dsp:sp modelId="{30585B62-2AA4-4FF7-A73E-F050DB15F43D}">
      <dsp:nvSpPr>
        <dsp:cNvPr id="0" name=""/>
        <dsp:cNvSpPr/>
      </dsp:nvSpPr>
      <dsp:spPr>
        <a:xfrm>
          <a:off x="379100" y="376802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Delete</a:t>
          </a:r>
          <a:endParaRPr lang="en-US" sz="2000" kern="1200" dirty="0"/>
        </a:p>
      </dsp:txBody>
      <dsp:txXfrm>
        <a:off x="389187" y="3778115"/>
        <a:ext cx="5287226" cy="18646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AF1EC7-90E4-4B16-A044-BC5A1A0E0674}">
      <dsp:nvSpPr>
        <dsp:cNvPr id="0" name=""/>
        <dsp:cNvSpPr/>
      </dsp:nvSpPr>
      <dsp:spPr>
        <a:xfrm>
          <a:off x="0" y="885399"/>
          <a:ext cx="6872957"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psert will update the field for an already existing document  or  it would insert the document if it does not exist:</a:t>
          </a:r>
          <a:endParaRPr lang="en-US" sz="2000" kern="1200" dirty="0"/>
        </a:p>
      </dsp:txBody>
      <dsp:txXfrm>
        <a:off x="59399" y="944798"/>
        <a:ext cx="6754159" cy="1098002"/>
      </dsp:txXfrm>
    </dsp:sp>
    <dsp:sp modelId="{36111777-27A1-4F0E-9F95-6F582BA3AE56}">
      <dsp:nvSpPr>
        <dsp:cNvPr id="0" name=""/>
        <dsp:cNvSpPr/>
      </dsp:nvSpPr>
      <dsp:spPr>
        <a:xfrm>
          <a:off x="0" y="2133739"/>
          <a:ext cx="6872957"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2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employees.update({firstname : “Maxwell" },{$set : { age : 30 }},{upsert : true} )</a:t>
          </a:r>
          <a:endParaRPr lang="en-US" sz="2000" kern="1200" dirty="0"/>
        </a:p>
      </dsp:txBody>
      <dsp:txXfrm>
        <a:off x="0" y="2133739"/>
        <a:ext cx="6872957" cy="10764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6306"/>
          <a:ext cx="7422382" cy="9921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Not Equal Modifier($ne): </a:t>
          </a:r>
          <a:endParaRPr lang="en-US" sz="2000" kern="1200" dirty="0">
            <a:solidFill>
              <a:srgbClr val="000000"/>
            </a:solidFill>
          </a:endParaRPr>
        </a:p>
      </dsp:txBody>
      <dsp:txXfrm>
        <a:off x="48433" y="54739"/>
        <a:ext cx="7325516" cy="895294"/>
      </dsp:txXfrm>
    </dsp:sp>
    <dsp:sp modelId="{D35D2B51-CDB9-456F-AB69-03B1DA780EB7}">
      <dsp:nvSpPr>
        <dsp:cNvPr id="0" name=""/>
        <dsp:cNvSpPr/>
      </dsp:nvSpPr>
      <dsp:spPr>
        <a:xfrm>
          <a:off x="0" y="998466"/>
          <a:ext cx="7422382" cy="877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6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ne : 55}});</a:t>
          </a:r>
        </a:p>
      </dsp:txBody>
      <dsp:txXfrm>
        <a:off x="0" y="998466"/>
        <a:ext cx="7422382" cy="877680"/>
      </dsp:txXfrm>
    </dsp:sp>
    <dsp:sp modelId="{C706326E-77B6-4ED4-A726-38A3ADE57610}">
      <dsp:nvSpPr>
        <dsp:cNvPr id="0" name=""/>
        <dsp:cNvSpPr/>
      </dsp:nvSpPr>
      <dsp:spPr>
        <a:xfrm>
          <a:off x="0" y="1876146"/>
          <a:ext cx="7422382" cy="9921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Greater/Less than Modifier($gt, $lt, $gte, $lte):</a:t>
          </a:r>
          <a:endParaRPr lang="en-US" sz="2000" kern="1200" dirty="0">
            <a:solidFill>
              <a:srgbClr val="000000"/>
            </a:solidFill>
          </a:endParaRPr>
        </a:p>
      </dsp:txBody>
      <dsp:txXfrm>
        <a:off x="48433" y="1924579"/>
        <a:ext cx="7325516" cy="895294"/>
      </dsp:txXfrm>
    </dsp:sp>
    <dsp:sp modelId="{F5B38B09-79B3-49DF-BEEB-2C05565E04C1}">
      <dsp:nvSpPr>
        <dsp:cNvPr id="0" name=""/>
        <dsp:cNvSpPr/>
      </dsp:nvSpPr>
      <dsp:spPr>
        <a:xfrm>
          <a:off x="0" y="2868306"/>
          <a:ext cx="7422382" cy="1371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6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gt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lt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gte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lte : 55}});</a:t>
          </a:r>
          <a:endParaRPr lang="en-US" sz="2000" kern="1200" dirty="0">
            <a:solidFill>
              <a:srgbClr val="000000"/>
            </a:solidFill>
          </a:endParaRPr>
        </a:p>
      </dsp:txBody>
      <dsp:txXfrm>
        <a:off x="0" y="2868306"/>
        <a:ext cx="7422382" cy="137137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60666"/>
          <a:ext cx="7837713" cy="98107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3. Increment Modifier($inc): </a:t>
          </a:r>
          <a:endParaRPr lang="en-US" sz="2000" kern="1200" dirty="0">
            <a:solidFill>
              <a:srgbClr val="000000"/>
            </a:solidFill>
          </a:endParaRPr>
        </a:p>
      </dsp:txBody>
      <dsp:txXfrm>
        <a:off x="47892" y="208558"/>
        <a:ext cx="7741929" cy="885295"/>
      </dsp:txXfrm>
    </dsp:sp>
    <dsp:sp modelId="{D35D2B51-CDB9-456F-AB69-03B1DA780EB7}">
      <dsp:nvSpPr>
        <dsp:cNvPr id="0" name=""/>
        <dsp:cNvSpPr/>
      </dsp:nvSpPr>
      <dsp:spPr>
        <a:xfrm>
          <a:off x="0" y="1141745"/>
          <a:ext cx="7837713"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84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firstname:"anjulata"},{$inc:{salary:500}})</a:t>
          </a:r>
        </a:p>
      </dsp:txBody>
      <dsp:txXfrm>
        <a:off x="0" y="1141745"/>
        <a:ext cx="7837713" cy="1059840"/>
      </dsp:txXfrm>
    </dsp:sp>
    <dsp:sp modelId="{40DC4E25-C0E3-46B0-AD6C-553019A88E3D}">
      <dsp:nvSpPr>
        <dsp:cNvPr id="0" name=""/>
        <dsp:cNvSpPr/>
      </dsp:nvSpPr>
      <dsp:spPr>
        <a:xfrm>
          <a:off x="0" y="2201585"/>
          <a:ext cx="7837713" cy="47954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4.Set Modifier($set):</a:t>
          </a:r>
        </a:p>
      </dsp:txBody>
      <dsp:txXfrm>
        <a:off x="23409" y="2224994"/>
        <a:ext cx="7790895" cy="432724"/>
      </dsp:txXfrm>
    </dsp:sp>
    <dsp:sp modelId="{794B7E88-9E8B-4B75-BFEA-23C35D715A60}">
      <dsp:nvSpPr>
        <dsp:cNvPr id="0" name=""/>
        <dsp:cNvSpPr/>
      </dsp:nvSpPr>
      <dsp:spPr>
        <a:xfrm>
          <a:off x="0" y="2681127"/>
          <a:ext cx="7837713"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84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vaishali"},{$set:{salary:6000}})</a:t>
          </a:r>
        </a:p>
      </dsp:txBody>
      <dsp:txXfrm>
        <a:off x="0" y="2681127"/>
        <a:ext cx="7837713" cy="1059840"/>
      </dsp:txXfrm>
    </dsp:sp>
    <dsp:sp modelId="{9644CD37-992D-4661-846B-D0091ECBFD0B}">
      <dsp:nvSpPr>
        <dsp:cNvPr id="0" name=""/>
        <dsp:cNvSpPr/>
      </dsp:nvSpPr>
      <dsp:spPr>
        <a:xfrm>
          <a:off x="0" y="3901634"/>
          <a:ext cx="7837713" cy="14227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Key-value will be created if the key doesnt exists yet in the case of both $set and $inc. $inc works for integers only. $set works for all. $inc Incrementing is extremely fast, so any performance penalty is negligible. </a:t>
          </a:r>
          <a:endParaRPr lang="en-US" sz="2000" kern="1200" dirty="0">
            <a:solidFill>
              <a:srgbClr val="000000"/>
            </a:solidFill>
          </a:endParaRPr>
        </a:p>
      </dsp:txBody>
      <dsp:txXfrm>
        <a:off x="69451" y="3971085"/>
        <a:ext cx="7698811" cy="128381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6979"/>
          <a:ext cx="7730531" cy="6934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5. Unset Modifier($unset):</a:t>
          </a:r>
          <a:endParaRPr lang="en-US" sz="2000" kern="1200" dirty="0">
            <a:solidFill>
              <a:srgbClr val="000000"/>
            </a:solidFill>
          </a:endParaRPr>
        </a:p>
      </dsp:txBody>
      <dsp:txXfrm>
        <a:off x="33850" y="40829"/>
        <a:ext cx="7662831" cy="625719"/>
      </dsp:txXfrm>
    </dsp:sp>
    <dsp:sp modelId="{D35D2B51-CDB9-456F-AB69-03B1DA780EB7}">
      <dsp:nvSpPr>
        <dsp:cNvPr id="0" name=""/>
        <dsp:cNvSpPr/>
      </dsp:nvSpPr>
      <dsp:spPr>
        <a:xfrm>
          <a:off x="0" y="700398"/>
          <a:ext cx="7730531"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44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vrushali"},{$unset:{lastname:1}})</a:t>
          </a:r>
        </a:p>
      </dsp:txBody>
      <dsp:txXfrm>
        <a:off x="0" y="700398"/>
        <a:ext cx="7730531" cy="794880"/>
      </dsp:txXfrm>
    </dsp:sp>
    <dsp:sp modelId="{0BC5330D-888B-487A-9311-B5A8B2FAD154}">
      <dsp:nvSpPr>
        <dsp:cNvPr id="0" name=""/>
        <dsp:cNvSpPr/>
      </dsp:nvSpPr>
      <dsp:spPr>
        <a:xfrm>
          <a:off x="0" y="1392062"/>
          <a:ext cx="7730531" cy="86712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6. Push Modifier($push): </a:t>
          </a:r>
        </a:p>
      </dsp:txBody>
      <dsp:txXfrm>
        <a:off x="42330" y="1434392"/>
        <a:ext cx="7645871" cy="782466"/>
      </dsp:txXfrm>
    </dsp:sp>
    <dsp:sp modelId="{A86E66DF-3078-469F-8828-E516EC07AE64}">
      <dsp:nvSpPr>
        <dsp:cNvPr id="0" name=""/>
        <dsp:cNvSpPr/>
      </dsp:nvSpPr>
      <dsp:spPr>
        <a:xfrm>
          <a:off x="0" y="2362404"/>
          <a:ext cx="7730531"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44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anjulata"},{"$push":{"foodILike":["pizza","idali"]}})</a:t>
          </a:r>
        </a:p>
      </dsp:txBody>
      <dsp:txXfrm>
        <a:off x="0" y="2362404"/>
        <a:ext cx="7730531" cy="794880"/>
      </dsp:txXfrm>
    </dsp:sp>
    <dsp:sp modelId="{74E8FA8A-28F6-4195-91D6-4A791B9408D8}">
      <dsp:nvSpPr>
        <dsp:cNvPr id="0" name=""/>
        <dsp:cNvSpPr/>
      </dsp:nvSpPr>
      <dsp:spPr>
        <a:xfrm>
          <a:off x="0" y="3157284"/>
          <a:ext cx="7730531" cy="10951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push" adds an element to the end of an array if the specified key already exists and creates a new array if it does not.</a:t>
          </a:r>
          <a:endParaRPr lang="en-US" sz="2000" kern="1200" dirty="0">
            <a:solidFill>
              <a:srgbClr val="000000"/>
            </a:solidFill>
          </a:endParaRPr>
        </a:p>
      </dsp:txBody>
      <dsp:txXfrm>
        <a:off x="53459" y="3210743"/>
        <a:ext cx="7623613" cy="98820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846387"/>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9. Pull Modifier($pull): </a:t>
          </a:r>
          <a:endParaRPr lang="en-US" sz="2000" kern="1200" dirty="0">
            <a:solidFill>
              <a:srgbClr val="000000"/>
            </a:solidFill>
          </a:endParaRPr>
        </a:p>
      </dsp:txBody>
      <dsp:txXfrm>
        <a:off x="58485" y="904872"/>
        <a:ext cx="7707347" cy="1081110"/>
      </dsp:txXfrm>
    </dsp:sp>
    <dsp:sp modelId="{D35D2B51-CDB9-456F-AB69-03B1DA780EB7}">
      <dsp:nvSpPr>
        <dsp:cNvPr id="0" name=""/>
        <dsp:cNvSpPr/>
      </dsp:nvSpPr>
      <dsp:spPr>
        <a:xfrm>
          <a:off x="0" y="2044467"/>
          <a:ext cx="7824317"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anjulata"},{$pull:{foodILike:"pizza"}})</a:t>
          </a:r>
        </a:p>
      </dsp:txBody>
      <dsp:txXfrm>
        <a:off x="0" y="2044467"/>
        <a:ext cx="7824317" cy="1059840"/>
      </dsp:txXfrm>
    </dsp:sp>
    <dsp:sp modelId="{84CCDFF5-038A-4D77-97E6-F262D8597618}">
      <dsp:nvSpPr>
        <dsp:cNvPr id="0" name=""/>
        <dsp:cNvSpPr/>
      </dsp:nvSpPr>
      <dsp:spPr>
        <a:xfrm>
          <a:off x="0" y="3104307"/>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Pulling removes all matching documents, not just a single match. </a:t>
          </a:r>
        </a:p>
      </dsp:txBody>
      <dsp:txXfrm>
        <a:off x="58485" y="3162792"/>
        <a:ext cx="7707347" cy="108111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0763"/>
          <a:ext cx="7824316" cy="78358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in" can be used to query for a variety of values for a singlekey.</a:t>
          </a:r>
          <a:endParaRPr lang="en-US" sz="2000" kern="1200" dirty="0">
            <a:solidFill>
              <a:srgbClr val="000000"/>
            </a:solidFill>
          </a:endParaRPr>
        </a:p>
      </dsp:txBody>
      <dsp:txXfrm>
        <a:off x="38251" y="49014"/>
        <a:ext cx="7747814" cy="707081"/>
      </dsp:txXfrm>
    </dsp:sp>
    <dsp:sp modelId="{D35D2B51-CDB9-456F-AB69-03B1DA780EB7}">
      <dsp:nvSpPr>
        <dsp:cNvPr id="0" name=""/>
        <dsp:cNvSpPr/>
      </dsp:nvSpPr>
      <dsp:spPr>
        <a:xfrm>
          <a:off x="0" y="794347"/>
          <a:ext cx="7824316"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 { salary: { $in: [ 2000, 30000 ] } } )</a:t>
          </a:r>
        </a:p>
      </dsp:txBody>
      <dsp:txXfrm>
        <a:off x="0" y="794347"/>
        <a:ext cx="7824316" cy="894240"/>
      </dsp:txXfrm>
    </dsp:sp>
    <dsp:sp modelId="{CDEEA749-6A7B-4ED8-AEA4-299B3E306BA9}">
      <dsp:nvSpPr>
        <dsp:cNvPr id="0" name=""/>
        <dsp:cNvSpPr/>
      </dsp:nvSpPr>
      <dsp:spPr>
        <a:xfrm>
          <a:off x="0" y="1528929"/>
          <a:ext cx="7824316" cy="7670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or" is more general; it can be used to query for anyof the given values across multiple keys.</a:t>
          </a:r>
        </a:p>
      </dsp:txBody>
      <dsp:txXfrm>
        <a:off x="37443" y="1566372"/>
        <a:ext cx="7749430" cy="692139"/>
      </dsp:txXfrm>
    </dsp:sp>
    <dsp:sp modelId="{3E1E3A23-405D-4767-BEDE-DFEC3E5CB4E0}">
      <dsp:nvSpPr>
        <dsp:cNvPr id="0" name=""/>
        <dsp:cNvSpPr/>
      </dsp:nvSpPr>
      <dsp:spPr>
        <a:xfrm>
          <a:off x="0" y="2455612"/>
          <a:ext cx="7824316"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gt;db.employees.find( { $or: [ { age:{ $lte: 34 } }, { salary:{$gt:50000}}]})</a:t>
          </a:r>
          <a:endParaRPr lang="en-US" sz="2000" kern="1200" dirty="0">
            <a:solidFill>
              <a:srgbClr val="000000"/>
            </a:solidFill>
          </a:endParaRPr>
        </a:p>
      </dsp:txBody>
      <dsp:txXfrm>
        <a:off x="0" y="2455612"/>
        <a:ext cx="7824316" cy="89424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6190"/>
          <a:ext cx="7958294" cy="7300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to do an OR query.</a:t>
          </a:r>
          <a:endParaRPr lang="en-US" sz="2000" kern="1200" dirty="0"/>
        </a:p>
      </dsp:txBody>
      <dsp:txXfrm>
        <a:off x="35640" y="41830"/>
        <a:ext cx="7887014" cy="6588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885399"/>
          <a:ext cx="7743930"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all" can be used to query for a variety of values for a singlekey.</a:t>
          </a:r>
          <a:endParaRPr lang="en-US" sz="2000" kern="1200" dirty="0">
            <a:solidFill>
              <a:srgbClr val="000000"/>
            </a:solidFill>
          </a:endParaRPr>
        </a:p>
      </dsp:txBody>
      <dsp:txXfrm>
        <a:off x="59399" y="944798"/>
        <a:ext cx="7625132" cy="1098002"/>
      </dsp:txXfrm>
    </dsp:sp>
    <dsp:sp modelId="{D35D2B51-CDB9-456F-AB69-03B1DA780EB7}">
      <dsp:nvSpPr>
        <dsp:cNvPr id="0" name=""/>
        <dsp:cNvSpPr/>
      </dsp:nvSpPr>
      <dsp:spPr>
        <a:xfrm>
          <a:off x="0" y="2102200"/>
          <a:ext cx="774393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87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 db.employees.find({contacts:{$all : ["7786666666","044-878888"]}}).count()</a:t>
          </a:r>
        </a:p>
      </dsp:txBody>
      <dsp:txXfrm>
        <a:off x="0" y="2102200"/>
        <a:ext cx="7743930" cy="107640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6190"/>
          <a:ext cx="7958294" cy="7300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to do an AND query. </a:t>
          </a:r>
          <a:endParaRPr lang="en-US" sz="2000" kern="1200" dirty="0"/>
        </a:p>
      </dsp:txBody>
      <dsp:txXfrm>
        <a:off x="35640" y="41830"/>
        <a:ext cx="7887014" cy="65880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DB9F1B-549C-42B0-933A-F14AAA4D5416}">
      <dsp:nvSpPr>
        <dsp:cNvPr id="0" name=""/>
        <dsp:cNvSpPr/>
      </dsp:nvSpPr>
      <dsp:spPr>
        <a:xfrm>
          <a:off x="0" y="354580"/>
          <a:ext cx="7824317" cy="80473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imple queries are and queries. </a:t>
          </a:r>
          <a:endParaRPr lang="en-US" sz="2000" kern="1200" dirty="0">
            <a:solidFill>
              <a:srgbClr val="000000"/>
            </a:solidFill>
          </a:endParaRPr>
        </a:p>
      </dsp:txBody>
      <dsp:txXfrm>
        <a:off x="39284" y="393864"/>
        <a:ext cx="7745749" cy="726170"/>
      </dsp:txXfrm>
    </dsp:sp>
    <dsp:sp modelId="{7048E3DC-1E50-441B-A7F3-9BD55095138F}">
      <dsp:nvSpPr>
        <dsp:cNvPr id="0" name=""/>
        <dsp:cNvSpPr/>
      </dsp:nvSpPr>
      <dsp:spPr>
        <a:xfrm>
          <a:off x="0" y="1343639"/>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t can be used to query for any of the given values across single/multiple</a:t>
          </a:r>
        </a:p>
      </dsp:txBody>
      <dsp:txXfrm>
        <a:off x="58485" y="1402124"/>
        <a:ext cx="7707347" cy="1081110"/>
      </dsp:txXfrm>
    </dsp:sp>
    <dsp:sp modelId="{45638B27-5C15-4DE3-A3A6-3EAC18FE7B26}">
      <dsp:nvSpPr>
        <dsp:cNvPr id="0" name=""/>
        <dsp:cNvSpPr/>
      </dsp:nvSpPr>
      <dsp:spPr>
        <a:xfrm>
          <a:off x="0" y="2770379"/>
          <a:ext cx="7824317"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address.city":"Pune","gender":"Male"}).pretty()</a:t>
          </a:r>
          <a:endParaRPr lang="en-US" sz="2000" kern="1200" dirty="0">
            <a:solidFill>
              <a:srgbClr val="000000"/>
            </a:solidFill>
          </a:endParaRPr>
        </a:p>
      </dsp:txBody>
      <dsp:txXfrm>
        <a:off x="0" y="2770379"/>
        <a:ext cx="7824317" cy="10598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85D9DD-1980-4E97-BBC6-567B031792C4}">
      <dsp:nvSpPr>
        <dsp:cNvPr id="0" name=""/>
        <dsp:cNvSpPr/>
      </dsp:nvSpPr>
      <dsp:spPr>
        <a:xfrm>
          <a:off x="1817339" y="0"/>
          <a:ext cx="4338617" cy="4338617"/>
        </a:xfrm>
        <a:prstGeom prst="quadArrow">
          <a:avLst>
            <a:gd name="adj1" fmla="val 2000"/>
            <a:gd name="adj2" fmla="val 4000"/>
            <a:gd name="adj3" fmla="val 5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E67811-0F27-429F-9A5E-34C2E48F1909}">
      <dsp:nvSpPr>
        <dsp:cNvPr id="0" name=""/>
        <dsp:cNvSpPr/>
      </dsp:nvSpPr>
      <dsp:spPr>
        <a:xfrm>
          <a:off x="430335" y="58146"/>
          <a:ext cx="3588313" cy="19210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gt;db.employees.insert({firstname:"vaishali",lastname:"srivastava",})</a:t>
          </a:r>
          <a:endParaRPr lang="en-US" sz="1600" kern="1200" dirty="0"/>
        </a:p>
      </dsp:txBody>
      <dsp:txXfrm>
        <a:off x="524115" y="151926"/>
        <a:ext cx="3400753" cy="1733527"/>
      </dsp:txXfrm>
    </dsp:sp>
    <dsp:sp modelId="{0F5CD659-3AC7-4494-BD11-539039890181}">
      <dsp:nvSpPr>
        <dsp:cNvPr id="0" name=""/>
        <dsp:cNvSpPr/>
      </dsp:nvSpPr>
      <dsp:spPr>
        <a:xfrm>
          <a:off x="4185859" y="58146"/>
          <a:ext cx="3125886" cy="19210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hu-HU" sz="1500" kern="1200" dirty="0" smtClean="0">
              <a:latin typeface="Arial" pitchFamily="34" charset="0"/>
            </a:rPr>
            <a:t>&gt; db.</a:t>
          </a:r>
          <a:r>
            <a:rPr lang="en-US" sz="1500" kern="1200" dirty="0" smtClean="0">
              <a:latin typeface="Arial" pitchFamily="34" charset="0"/>
            </a:rPr>
            <a:t>employees</a:t>
          </a:r>
          <a:r>
            <a:rPr lang="hu-HU" sz="1500" kern="1200" dirty="0" smtClean="0">
              <a:latin typeface="Arial" pitchFamily="34" charset="0"/>
            </a:rPr>
            <a:t>.find ()</a:t>
          </a:r>
        </a:p>
        <a:p>
          <a:pPr lvl="0" algn="ctr" defTabSz="666750">
            <a:lnSpc>
              <a:spcPct val="90000"/>
            </a:lnSpc>
            <a:spcBef>
              <a:spcPct val="0"/>
            </a:spcBef>
            <a:spcAft>
              <a:spcPct val="35000"/>
            </a:spcAft>
          </a:pPr>
          <a:r>
            <a:rPr lang="en-US" sz="1500" kern="1200" dirty="0" smtClean="0">
              <a:latin typeface="Arial" pitchFamily="34" charset="0"/>
            </a:rPr>
            <a:t>{ </a:t>
          </a:r>
          <a:endParaRPr lang="hu-HU" sz="1500" kern="1200" dirty="0" smtClean="0">
            <a:latin typeface="Arial" pitchFamily="34" charset="0"/>
          </a:endParaRPr>
        </a:p>
        <a:p>
          <a:pPr lvl="0" algn="ctr" defTabSz="666750">
            <a:lnSpc>
              <a:spcPct val="90000"/>
            </a:lnSpc>
            <a:spcBef>
              <a:spcPct val="0"/>
            </a:spcBef>
            <a:spcAft>
              <a:spcPct val="35000"/>
            </a:spcAft>
          </a:pPr>
          <a:r>
            <a:rPr lang="en-US" sz="1500" b="1" kern="1200" dirty="0" smtClean="0">
              <a:latin typeface="Arial" pitchFamily="34" charset="0"/>
            </a:rPr>
            <a:t>"_id" :</a:t>
          </a:r>
          <a:r>
            <a:rPr lang="hu-HU" sz="1500" b="1" kern="1200" dirty="0" smtClean="0">
              <a:latin typeface="Arial" pitchFamily="34" charset="0"/>
            </a:rPr>
            <a:t> </a:t>
          </a:r>
          <a:r>
            <a:rPr lang="en-US" sz="1500" b="1" kern="1200" dirty="0" smtClean="0">
              <a:latin typeface="Arial" pitchFamily="34" charset="0"/>
            </a:rPr>
            <a:t>ObjectId("51</a:t>
          </a:r>
          <a:r>
            <a:rPr lang="hu-HU" sz="1500" b="1" kern="1200" dirty="0" smtClean="0">
              <a:latin typeface="Arial" pitchFamily="34" charset="0"/>
            </a:rPr>
            <a:t>…</a:t>
          </a:r>
          <a:r>
            <a:rPr lang="en-US" sz="1500" b="1" kern="1200" dirty="0" smtClean="0">
              <a:latin typeface="Arial" pitchFamily="34" charset="0"/>
            </a:rPr>
            <a:t>"),</a:t>
          </a:r>
        </a:p>
        <a:p>
          <a:pPr lvl="0" algn="ctr" defTabSz="666750">
            <a:lnSpc>
              <a:spcPct val="90000"/>
            </a:lnSpc>
            <a:spcBef>
              <a:spcPct val="0"/>
            </a:spcBef>
            <a:spcAft>
              <a:spcPct val="35000"/>
            </a:spcAft>
          </a:pPr>
          <a:r>
            <a:rPr lang="en-US" sz="1500" kern="1200" dirty="0" smtClean="0">
              <a:latin typeface="Arial" pitchFamily="34" charset="0"/>
            </a:rPr>
            <a:t>"firstname" : "John",</a:t>
          </a:r>
        </a:p>
        <a:p>
          <a:pPr lvl="0" algn="ctr" defTabSz="666750">
            <a:lnSpc>
              <a:spcPct val="90000"/>
            </a:lnSpc>
            <a:spcBef>
              <a:spcPct val="0"/>
            </a:spcBef>
            <a:spcAft>
              <a:spcPct val="35000"/>
            </a:spcAft>
          </a:pPr>
          <a:r>
            <a:rPr lang="en-US" sz="1500" kern="1200" dirty="0" smtClean="0">
              <a:latin typeface="Arial" pitchFamily="34" charset="0"/>
            </a:rPr>
            <a:t>"lastname" : "Doe",</a:t>
          </a:r>
          <a:endParaRPr lang="hu-HU" sz="1500" kern="1200" dirty="0" smtClean="0">
            <a:latin typeface="Arial" pitchFamily="34" charset="0"/>
          </a:endParaRPr>
        </a:p>
        <a:p>
          <a:pPr lvl="0" algn="ctr" defTabSz="666750">
            <a:lnSpc>
              <a:spcPct val="90000"/>
            </a:lnSpc>
            <a:spcBef>
              <a:spcPct val="0"/>
            </a:spcBef>
            <a:spcAft>
              <a:spcPct val="35000"/>
            </a:spcAft>
          </a:pPr>
          <a:r>
            <a:rPr lang="en-US" sz="1500" kern="1200" dirty="0" smtClean="0">
              <a:latin typeface="Arial" pitchFamily="34" charset="0"/>
            </a:rPr>
            <a:t>}</a:t>
          </a:r>
          <a:endParaRPr lang="en-US" sz="1500" kern="1200" dirty="0"/>
        </a:p>
      </dsp:txBody>
      <dsp:txXfrm>
        <a:off x="4279639" y="151926"/>
        <a:ext cx="2938326" cy="1733527"/>
      </dsp:txXfrm>
    </dsp:sp>
    <dsp:sp modelId="{48D70518-6486-4EA2-A830-2ECC7AB5A970}">
      <dsp:nvSpPr>
        <dsp:cNvPr id="0" name=""/>
        <dsp:cNvSpPr/>
      </dsp:nvSpPr>
      <dsp:spPr>
        <a:xfrm>
          <a:off x="685645" y="2317611"/>
          <a:ext cx="3077693" cy="200463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hu-HU" sz="1400" kern="1200" dirty="0" smtClean="0">
              <a:latin typeface="Arial" pitchFamily="34" charset="0"/>
            </a:rPr>
            <a:t>&gt; db.</a:t>
          </a:r>
          <a:r>
            <a:rPr lang="en-US" sz="1400" kern="1200" dirty="0" smtClean="0">
              <a:latin typeface="Arial" pitchFamily="34" charset="0"/>
            </a:rPr>
            <a:t>employees</a:t>
          </a:r>
          <a:r>
            <a:rPr lang="hu-HU" sz="1400" kern="1200" dirty="0" smtClean="0">
              <a:latin typeface="Arial" pitchFamily="34" charset="0"/>
            </a:rPr>
            <a:t>.update(</a:t>
          </a:r>
        </a:p>
        <a:p>
          <a:pPr lvl="0" algn="ctr" defTabSz="622300">
            <a:lnSpc>
              <a:spcPct val="90000"/>
            </a:lnSpc>
            <a:spcBef>
              <a:spcPct val="0"/>
            </a:spcBef>
            <a:spcAft>
              <a:spcPct val="35000"/>
            </a:spcAft>
          </a:pPr>
          <a:r>
            <a:rPr lang="hu-HU" sz="1400" kern="1200" dirty="0" smtClean="0">
              <a:latin typeface="Arial" pitchFamily="34" charset="0"/>
            </a:rPr>
            <a:t>{"_id" : ObjectId("51…")},</a:t>
          </a:r>
        </a:p>
        <a:p>
          <a:pPr lvl="0" algn="ctr" defTabSz="622300">
            <a:lnSpc>
              <a:spcPct val="90000"/>
            </a:lnSpc>
            <a:spcBef>
              <a:spcPct val="0"/>
            </a:spcBef>
            <a:spcAft>
              <a:spcPct val="35000"/>
            </a:spcAft>
          </a:pPr>
          <a:r>
            <a:rPr lang="hu-HU" sz="1400" kern="1200" dirty="0" smtClean="0">
              <a:latin typeface="Arial" pitchFamily="34" charset="0"/>
            </a:rPr>
            <a:t>{</a:t>
          </a:r>
        </a:p>
        <a:p>
          <a:pPr lvl="0" algn="ctr" defTabSz="622300">
            <a:lnSpc>
              <a:spcPct val="90000"/>
            </a:lnSpc>
            <a:spcBef>
              <a:spcPct val="0"/>
            </a:spcBef>
            <a:spcAft>
              <a:spcPct val="35000"/>
            </a:spcAft>
          </a:pPr>
          <a:r>
            <a:rPr lang="hu-HU" sz="1400" b="1" kern="1200" dirty="0" smtClean="0">
              <a:latin typeface="Arial" pitchFamily="34" charset="0"/>
            </a:rPr>
            <a:t>$set</a:t>
          </a:r>
          <a:r>
            <a:rPr lang="hu-HU" sz="1400" kern="1200" dirty="0" smtClean="0">
              <a:latin typeface="Arial" pitchFamily="34" charset="0"/>
            </a:rPr>
            <a:t>: {</a:t>
          </a:r>
        </a:p>
        <a:p>
          <a:pPr lvl="0" algn="ctr" defTabSz="622300">
            <a:lnSpc>
              <a:spcPct val="90000"/>
            </a:lnSpc>
            <a:spcBef>
              <a:spcPct val="0"/>
            </a:spcBef>
            <a:spcAft>
              <a:spcPct val="35000"/>
            </a:spcAft>
          </a:pPr>
          <a:r>
            <a:rPr lang="hu-HU" sz="1400" kern="1200" dirty="0" smtClean="0">
              <a:latin typeface="Arial" pitchFamily="34" charset="0"/>
            </a:rPr>
            <a:t>age: 40,</a:t>
          </a:r>
        </a:p>
        <a:p>
          <a:pPr lvl="0" algn="ctr" defTabSz="622300">
            <a:lnSpc>
              <a:spcPct val="90000"/>
            </a:lnSpc>
            <a:spcBef>
              <a:spcPct val="0"/>
            </a:spcBef>
            <a:spcAft>
              <a:spcPct val="35000"/>
            </a:spcAft>
          </a:pPr>
          <a:r>
            <a:rPr lang="hu-HU" sz="1400" kern="1200" dirty="0" smtClean="0">
              <a:latin typeface="Arial" pitchFamily="34" charset="0"/>
            </a:rPr>
            <a:t>salary: 7000}</a:t>
          </a:r>
        </a:p>
        <a:p>
          <a:pPr lvl="0" algn="ctr" defTabSz="622300">
            <a:lnSpc>
              <a:spcPct val="90000"/>
            </a:lnSpc>
            <a:spcBef>
              <a:spcPct val="0"/>
            </a:spcBef>
            <a:spcAft>
              <a:spcPct val="35000"/>
            </a:spcAft>
          </a:pPr>
          <a:r>
            <a:rPr lang="hu-HU" sz="1400" kern="1200" dirty="0" smtClean="0">
              <a:latin typeface="Arial" pitchFamily="34" charset="0"/>
            </a:rPr>
            <a:t>}</a:t>
          </a:r>
        </a:p>
        <a:p>
          <a:pPr lvl="0" algn="ctr" defTabSz="622300">
            <a:lnSpc>
              <a:spcPct val="90000"/>
            </a:lnSpc>
            <a:spcBef>
              <a:spcPct val="0"/>
            </a:spcBef>
            <a:spcAft>
              <a:spcPct val="35000"/>
            </a:spcAft>
          </a:pPr>
          <a:r>
            <a:rPr lang="hu-HU" sz="1400" kern="1200" dirty="0" smtClean="0">
              <a:latin typeface="Arial" pitchFamily="34" charset="0"/>
            </a:rPr>
            <a:t>)</a:t>
          </a:r>
          <a:endParaRPr lang="en-US" sz="1400" kern="1200" dirty="0"/>
        </a:p>
      </dsp:txBody>
      <dsp:txXfrm>
        <a:off x="783503" y="2415469"/>
        <a:ext cx="2881977" cy="1808915"/>
      </dsp:txXfrm>
    </dsp:sp>
    <dsp:sp modelId="{B1249946-B4FD-4805-A48C-10084C7368AD}">
      <dsp:nvSpPr>
        <dsp:cNvPr id="0" name=""/>
        <dsp:cNvSpPr/>
      </dsp:nvSpPr>
      <dsp:spPr>
        <a:xfrm>
          <a:off x="4185859" y="2317611"/>
          <a:ext cx="3125886" cy="200463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hu-HU" sz="1600" kern="1200" dirty="0" smtClean="0">
              <a:latin typeface="Arial" pitchFamily="34" charset="0"/>
            </a:rPr>
            <a:t>&gt; db.</a:t>
          </a:r>
          <a:r>
            <a:rPr lang="en-US" sz="1600" kern="1200" dirty="0" smtClean="0">
              <a:latin typeface="Arial" pitchFamily="34" charset="0"/>
            </a:rPr>
            <a:t>employees</a:t>
          </a:r>
          <a:r>
            <a:rPr lang="hu-HU" sz="1600" kern="1200" dirty="0" smtClean="0">
              <a:latin typeface="Arial" pitchFamily="34" charset="0"/>
            </a:rPr>
            <a:t>.remove({</a:t>
          </a:r>
        </a:p>
        <a:p>
          <a:pPr lvl="0" algn="ctr" defTabSz="711200">
            <a:lnSpc>
              <a:spcPct val="90000"/>
            </a:lnSpc>
            <a:spcBef>
              <a:spcPct val="0"/>
            </a:spcBef>
            <a:spcAft>
              <a:spcPct val="35000"/>
            </a:spcAft>
          </a:pPr>
          <a:r>
            <a:rPr lang="hu-HU" sz="1600" kern="1200" dirty="0" smtClean="0">
              <a:latin typeface="Arial" pitchFamily="34" charset="0"/>
            </a:rPr>
            <a:t>"first</a:t>
          </a:r>
          <a:r>
            <a:rPr lang="en-US" sz="1600" kern="1200" dirty="0" smtClean="0">
              <a:latin typeface="Arial" pitchFamily="34" charset="0"/>
            </a:rPr>
            <a:t>name</a:t>
          </a:r>
          <a:r>
            <a:rPr lang="hu-HU" sz="1600" kern="1200" dirty="0" smtClean="0">
              <a:latin typeface="Arial" pitchFamily="34" charset="0"/>
            </a:rPr>
            <a:t>": /^J/ </a:t>
          </a:r>
        </a:p>
        <a:p>
          <a:pPr lvl="0" algn="ctr" defTabSz="711200">
            <a:lnSpc>
              <a:spcPct val="90000"/>
            </a:lnSpc>
            <a:spcBef>
              <a:spcPct val="0"/>
            </a:spcBef>
            <a:spcAft>
              <a:spcPct val="35000"/>
            </a:spcAft>
          </a:pPr>
          <a:r>
            <a:rPr lang="hu-HU" sz="1600" kern="1200" dirty="0" smtClean="0">
              <a:latin typeface="Arial" pitchFamily="34" charset="0"/>
            </a:rPr>
            <a:t>})</a:t>
          </a:r>
          <a:endParaRPr lang="en-US" sz="1600" kern="1200" dirty="0"/>
        </a:p>
      </dsp:txBody>
      <dsp:txXfrm>
        <a:off x="4283717" y="2415469"/>
        <a:ext cx="2930170" cy="180891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504"/>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query data from MongoDB collection, you need to use MongoDB's </a:t>
          </a:r>
          <a:r>
            <a:rPr lang="en-US" sz="2000" b="1" kern="1200" dirty="0" smtClean="0">
              <a:solidFill>
                <a:srgbClr val="000000"/>
              </a:solidFill>
            </a:rPr>
            <a:t>find()</a:t>
          </a:r>
          <a:r>
            <a:rPr lang="en-US" sz="2000" kern="1200" dirty="0" smtClean="0">
              <a:solidFill>
                <a:srgbClr val="000000"/>
              </a:solidFill>
            </a:rPr>
            <a:t> method</a:t>
          </a:r>
          <a:endParaRPr lang="en-US" sz="2000" kern="1200" dirty="0">
            <a:solidFill>
              <a:srgbClr val="000000"/>
            </a:solidFill>
          </a:endParaRPr>
        </a:p>
      </dsp:txBody>
      <dsp:txXfrm>
        <a:off x="38231" y="38735"/>
        <a:ext cx="7667468" cy="706706"/>
      </dsp:txXfrm>
    </dsp:sp>
    <dsp:sp modelId="{0E9DFD3A-D91B-4E1E-BAD7-C44B30D1A940}">
      <dsp:nvSpPr>
        <dsp:cNvPr id="0" name=""/>
        <dsp:cNvSpPr/>
      </dsp:nvSpPr>
      <dsp:spPr>
        <a:xfrm>
          <a:off x="0" y="797848"/>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Basic syntax of </a:t>
          </a:r>
          <a:r>
            <a:rPr lang="en-US" sz="2000" b="1" kern="1200" dirty="0" smtClean="0">
              <a:solidFill>
                <a:srgbClr val="000000"/>
              </a:solidFill>
            </a:rPr>
            <a:t>find()</a:t>
          </a:r>
          <a:r>
            <a:rPr lang="en-US" sz="2000" kern="1200" dirty="0" smtClean="0">
              <a:solidFill>
                <a:srgbClr val="000000"/>
              </a:solidFill>
            </a:rPr>
            <a:t> method is as follows </a:t>
          </a:r>
        </a:p>
      </dsp:txBody>
      <dsp:txXfrm>
        <a:off x="38231" y="836079"/>
        <a:ext cx="7667468" cy="706706"/>
      </dsp:txXfrm>
    </dsp:sp>
    <dsp:sp modelId="{8C597AE3-61AC-4795-B215-7CCBD059428E}">
      <dsp:nvSpPr>
        <dsp:cNvPr id="0" name=""/>
        <dsp:cNvSpPr/>
      </dsp:nvSpPr>
      <dsp:spPr>
        <a:xfrm>
          <a:off x="0" y="1595192"/>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gt;db.COLLECTION_NAME.find() </a:t>
          </a:r>
          <a:r>
            <a:rPr lang="en-US" sz="2000" b="1" kern="1200" dirty="0" smtClean="0">
              <a:solidFill>
                <a:srgbClr val="000000"/>
              </a:solidFill>
            </a:rPr>
            <a:t>find() </a:t>
          </a:r>
          <a:r>
            <a:rPr lang="en-US" sz="2000" kern="1200" dirty="0" smtClean="0">
              <a:solidFill>
                <a:srgbClr val="000000"/>
              </a:solidFill>
            </a:rPr>
            <a:t>method will display all the documents in a non structured way </a:t>
          </a:r>
        </a:p>
      </dsp:txBody>
      <dsp:txXfrm>
        <a:off x="38231" y="1633423"/>
        <a:ext cx="7667468" cy="706706"/>
      </dsp:txXfrm>
    </dsp:sp>
    <dsp:sp modelId="{7304EE3F-7410-47F5-8EF6-0724A85EC250}">
      <dsp:nvSpPr>
        <dsp:cNvPr id="0" name=""/>
        <dsp:cNvSpPr/>
      </dsp:nvSpPr>
      <dsp:spPr>
        <a:xfrm>
          <a:off x="0" y="2392535"/>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pretty() Method </a:t>
          </a:r>
        </a:p>
      </dsp:txBody>
      <dsp:txXfrm>
        <a:off x="38231" y="2430766"/>
        <a:ext cx="7667468" cy="706706"/>
      </dsp:txXfrm>
    </dsp:sp>
    <dsp:sp modelId="{11D6B7C9-27C8-421B-A251-1EE07ED4D5CD}">
      <dsp:nvSpPr>
        <dsp:cNvPr id="0" name=""/>
        <dsp:cNvSpPr/>
      </dsp:nvSpPr>
      <dsp:spPr>
        <a:xfrm>
          <a:off x="0" y="3189879"/>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display the results in a formatted way, you can use </a:t>
          </a:r>
          <a:r>
            <a:rPr lang="en-US" sz="2000" b="1" kern="1200" dirty="0" smtClean="0">
              <a:solidFill>
                <a:srgbClr val="000000"/>
              </a:solidFill>
            </a:rPr>
            <a:t>pretty()</a:t>
          </a:r>
          <a:r>
            <a:rPr lang="en-US" sz="2000" kern="1200" dirty="0" smtClean="0">
              <a:solidFill>
                <a:srgbClr val="000000"/>
              </a:solidFill>
            </a:rPr>
            <a:t> method</a:t>
          </a:r>
        </a:p>
      </dsp:txBody>
      <dsp:txXfrm>
        <a:off x="38231" y="3228110"/>
        <a:ext cx="7667468" cy="706706"/>
      </dsp:txXfrm>
    </dsp:sp>
    <dsp:sp modelId="{62973A58-6EFD-480D-BE21-7031EED48A6E}">
      <dsp:nvSpPr>
        <dsp:cNvPr id="0" name=""/>
        <dsp:cNvSpPr/>
      </dsp:nvSpPr>
      <dsp:spPr>
        <a:xfrm>
          <a:off x="0" y="3973048"/>
          <a:ext cx="7743930" cy="326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87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pretty()</a:t>
          </a:r>
        </a:p>
      </dsp:txBody>
      <dsp:txXfrm>
        <a:off x="0" y="3973048"/>
        <a:ext cx="7743930" cy="32602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0904"/>
          <a:ext cx="7931499" cy="70599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The find() Method</a:t>
          </a:r>
          <a:endParaRPr lang="en-US" sz="2000" kern="1200" dirty="0">
            <a:solidFill>
              <a:srgbClr val="000000"/>
            </a:solidFill>
          </a:endParaRPr>
        </a:p>
      </dsp:txBody>
      <dsp:txXfrm>
        <a:off x="34464" y="55368"/>
        <a:ext cx="7862571" cy="637068"/>
      </dsp:txXfrm>
    </dsp:sp>
    <dsp:sp modelId="{C3FBCBFD-FFE8-4293-999B-60716D3D9833}">
      <dsp:nvSpPr>
        <dsp:cNvPr id="0" name=""/>
        <dsp:cNvSpPr/>
      </dsp:nvSpPr>
      <dsp:spPr>
        <a:xfrm>
          <a:off x="0" y="1206640"/>
          <a:ext cx="7931499" cy="20295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 MongoDB when you execute </a:t>
          </a:r>
          <a:r>
            <a:rPr lang="en-US" sz="2000" b="1" kern="1200" dirty="0" smtClean="0">
              <a:solidFill>
                <a:srgbClr val="000000"/>
              </a:solidFill>
            </a:rPr>
            <a:t>find()</a:t>
          </a:r>
          <a:r>
            <a:rPr lang="en-US" sz="2000" kern="1200" dirty="0" smtClean="0">
              <a:solidFill>
                <a:srgbClr val="000000"/>
              </a:solidFill>
            </a:rPr>
            <a:t> method, then it displays all fields of a document. To limit this you need to set list of fields with value 1 or 0. 1 is used to show the field  while 0 is used to hide the field.</a:t>
          </a:r>
        </a:p>
      </dsp:txBody>
      <dsp:txXfrm>
        <a:off x="99077" y="1305717"/>
        <a:ext cx="7733345" cy="1831441"/>
      </dsp:txXfrm>
    </dsp:sp>
    <dsp:sp modelId="{3BECBF35-0916-4D54-AAA2-1EA473B3E9E8}">
      <dsp:nvSpPr>
        <dsp:cNvPr id="0" name=""/>
        <dsp:cNvSpPr/>
      </dsp:nvSpPr>
      <dsp:spPr>
        <a:xfrm>
          <a:off x="0" y="3236236"/>
          <a:ext cx="7931499"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1825" tIns="25400" rIns="142240" bIns="25400" numCol="1" spcCol="1270" anchor="ctr"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COLLECTION_NAME.find({},{KEY:1}) </a:t>
          </a:r>
        </a:p>
        <a:p>
          <a:pPr marL="228600" lvl="1" indent="-228600" algn="l" defTabSz="889000">
            <a:lnSpc>
              <a:spcPct val="90000"/>
            </a:lnSpc>
            <a:spcBef>
              <a:spcPct val="0"/>
            </a:spcBef>
            <a:spcAft>
              <a:spcPct val="20000"/>
            </a:spcAft>
            <a:buChar char="••"/>
          </a:pPr>
          <a:r>
            <a:rPr lang="en-US" sz="2000" kern="1200" dirty="0" smtClean="0">
              <a:solidFill>
                <a:srgbClr val="000000"/>
              </a:solidFill>
            </a:rPr>
            <a:t>db.mycol.find({},{"title":1,_id:0})  </a:t>
          </a:r>
        </a:p>
      </dsp:txBody>
      <dsp:txXfrm>
        <a:off x="0" y="3236236"/>
        <a:ext cx="7931499" cy="1059840"/>
      </dsp:txXfrm>
    </dsp:sp>
    <dsp:sp modelId="{9AD92E85-A708-4870-9E2F-DBD150D8E946}">
      <dsp:nvSpPr>
        <dsp:cNvPr id="0" name=""/>
        <dsp:cNvSpPr/>
      </dsp:nvSpPr>
      <dsp:spPr>
        <a:xfrm>
          <a:off x="0" y="4296076"/>
          <a:ext cx="7931499" cy="4628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you don't want this field, then you need to set it as 0</a:t>
          </a:r>
          <a:endParaRPr lang="en-US" sz="2000" kern="1200" dirty="0">
            <a:solidFill>
              <a:srgbClr val="000000"/>
            </a:solidFill>
          </a:endParaRPr>
        </a:p>
      </dsp:txBody>
      <dsp:txXfrm>
        <a:off x="22595" y="4318671"/>
        <a:ext cx="7886309" cy="417663"/>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87"/>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is query selects the documents in the users collection that match the condition age is greater than 18. </a:t>
          </a:r>
          <a:endParaRPr lang="en-US" sz="2000" kern="1200" dirty="0">
            <a:solidFill>
              <a:srgbClr val="000000"/>
            </a:solidFill>
          </a:endParaRPr>
        </a:p>
      </dsp:txBody>
      <dsp:txXfrm>
        <a:off x="34438" y="34725"/>
        <a:ext cx="7929612" cy="636597"/>
      </dsp:txXfrm>
    </dsp:sp>
    <dsp:sp modelId="{E6986E19-5D1B-466E-89C3-2F2361701875}">
      <dsp:nvSpPr>
        <dsp:cNvPr id="0" name=""/>
        <dsp:cNvSpPr/>
      </dsp:nvSpPr>
      <dsp:spPr>
        <a:xfrm>
          <a:off x="0" y="718529"/>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query returns at most 5 matching documents (or more precisely, a cursor to those documents). </a:t>
          </a:r>
          <a:endParaRPr lang="en-US" sz="2000" kern="1200" dirty="0">
            <a:solidFill>
              <a:srgbClr val="000000"/>
            </a:solidFill>
          </a:endParaRPr>
        </a:p>
      </dsp:txBody>
      <dsp:txXfrm>
        <a:off x="34438" y="752967"/>
        <a:ext cx="7929612" cy="636597"/>
      </dsp:txXfrm>
    </dsp:sp>
    <dsp:sp modelId="{06C63B17-AC2C-4BA6-A2E0-D0ECBF8B33DD}">
      <dsp:nvSpPr>
        <dsp:cNvPr id="0" name=""/>
        <dsp:cNvSpPr/>
      </dsp:nvSpPr>
      <dsp:spPr>
        <a:xfrm>
          <a:off x="0" y="1436771"/>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matching documents will return with only the _id, name and address fields.</a:t>
          </a:r>
          <a:endParaRPr lang="en-US" sz="2000" kern="1200" dirty="0">
            <a:solidFill>
              <a:srgbClr val="000000"/>
            </a:solidFill>
          </a:endParaRPr>
        </a:p>
      </dsp:txBody>
      <dsp:txXfrm>
        <a:off x="34438" y="1471209"/>
        <a:ext cx="7929612" cy="636597"/>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4101"/>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Query expression objects indicate a pattern to match</a:t>
          </a:r>
          <a:endParaRPr lang="en-US" sz="2000" kern="1200" dirty="0">
            <a:solidFill>
              <a:srgbClr val="000000"/>
            </a:solidFill>
          </a:endParaRPr>
        </a:p>
      </dsp:txBody>
      <dsp:txXfrm>
        <a:off x="23560" y="47661"/>
        <a:ext cx="7737003" cy="435505"/>
      </dsp:txXfrm>
    </dsp:sp>
    <dsp:sp modelId="{D35D2B51-CDB9-456F-AB69-03B1DA780EB7}">
      <dsp:nvSpPr>
        <dsp:cNvPr id="0" name=""/>
        <dsp:cNvSpPr/>
      </dsp:nvSpPr>
      <dsp:spPr>
        <a:xfrm>
          <a:off x="0" y="506726"/>
          <a:ext cx="7784123" cy="41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gt; db.employees.find( {lastname: "Acharaya"} )</a:t>
          </a:r>
        </a:p>
      </dsp:txBody>
      <dsp:txXfrm>
        <a:off x="0" y="506726"/>
        <a:ext cx="7784123" cy="414000"/>
      </dsp:txXfrm>
    </dsp:sp>
    <dsp:sp modelId="{553C602C-2C4F-4D1B-9F13-B0B0BE10AAB3}">
      <dsp:nvSpPr>
        <dsp:cNvPr id="0" name=""/>
        <dsp:cNvSpPr/>
      </dsp:nvSpPr>
      <dsp:spPr>
        <a:xfrm>
          <a:off x="0" y="920726"/>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veral query objects for advanced queries</a:t>
          </a:r>
        </a:p>
      </dsp:txBody>
      <dsp:txXfrm>
        <a:off x="23560" y="944286"/>
        <a:ext cx="7737003" cy="435505"/>
      </dsp:txXfrm>
    </dsp:sp>
    <dsp:sp modelId="{F7BDD9D7-3CA1-4B0F-BF37-681F68515522}">
      <dsp:nvSpPr>
        <dsp:cNvPr id="0" name=""/>
        <dsp:cNvSpPr/>
      </dsp:nvSpPr>
      <dsp:spPr>
        <a:xfrm>
          <a:off x="0" y="1403351"/>
          <a:ext cx="7784123"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ge: {$gte: 23} } )</a:t>
          </a:r>
        </a:p>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ge: {$in: [23,25]} } )</a:t>
          </a:r>
        </a:p>
      </dsp:txBody>
      <dsp:txXfrm>
        <a:off x="0" y="1403351"/>
        <a:ext cx="7784123" cy="672750"/>
      </dsp:txXfrm>
    </dsp:sp>
    <dsp:sp modelId="{2BC020B3-26C8-4A1B-8091-4D5E2FB5CF91}">
      <dsp:nvSpPr>
        <dsp:cNvPr id="0" name=""/>
        <dsp:cNvSpPr/>
      </dsp:nvSpPr>
      <dsp:spPr>
        <a:xfrm>
          <a:off x="0" y="2076101"/>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Exact match an entire embedded object</a:t>
          </a:r>
        </a:p>
      </dsp:txBody>
      <dsp:txXfrm>
        <a:off x="23560" y="2099661"/>
        <a:ext cx="7737003" cy="435505"/>
      </dsp:txXfrm>
    </dsp:sp>
    <dsp:sp modelId="{BF1F96AF-8FD5-4B03-B9C1-8BC846F81F22}">
      <dsp:nvSpPr>
        <dsp:cNvPr id="0" name=""/>
        <dsp:cNvSpPr/>
      </dsp:nvSpPr>
      <dsp:spPr>
        <a:xfrm>
          <a:off x="0" y="2558726"/>
          <a:ext cx="7784123"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users.find( {address: {state: “MS”</a:t>
          </a:r>
        </a:p>
        <a:p>
          <a:pPr marL="228600" lvl="1" indent="-228600" algn="l" defTabSz="889000">
            <a:lnSpc>
              <a:spcPct val="90000"/>
            </a:lnSpc>
            <a:spcBef>
              <a:spcPct val="0"/>
            </a:spcBef>
            <a:spcAft>
              <a:spcPct val="20000"/>
            </a:spcAft>
            <a:buChar char="••"/>
          </a:pPr>
          <a:r>
            <a:rPr lang="en-US" sz="2000" b="1" kern="1200" dirty="0" smtClean="0">
              <a:solidFill>
                <a:srgbClr val="000000"/>
              </a:solidFill>
            </a:rPr>
            <a:t> Terrace‘,city: 'Denton'}} ) </a:t>
          </a:r>
        </a:p>
      </dsp:txBody>
      <dsp:txXfrm>
        <a:off x="0" y="2558726"/>
        <a:ext cx="7784123" cy="672750"/>
      </dsp:txXfrm>
    </dsp:sp>
    <dsp:sp modelId="{63E2AC08-A6A8-470F-9E82-6EBB82E6F30E}">
      <dsp:nvSpPr>
        <dsp:cNvPr id="0" name=""/>
        <dsp:cNvSpPr/>
      </dsp:nvSpPr>
      <dsp:spPr>
        <a:xfrm>
          <a:off x="0" y="3231476"/>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ot-notation for a partial match</a:t>
          </a:r>
        </a:p>
      </dsp:txBody>
      <dsp:txXfrm>
        <a:off x="23560" y="3255036"/>
        <a:ext cx="7737003" cy="435505"/>
      </dsp:txXfrm>
    </dsp:sp>
    <dsp:sp modelId="{99918C9C-AC3F-49D5-B4D1-A9CD8AD5171C}">
      <dsp:nvSpPr>
        <dsp:cNvPr id="0" name=""/>
        <dsp:cNvSpPr/>
      </dsp:nvSpPr>
      <dsp:spPr>
        <a:xfrm>
          <a:off x="0" y="3714101"/>
          <a:ext cx="7784123" cy="41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ddress.city": “Pune”} )</a:t>
          </a:r>
        </a:p>
      </dsp:txBody>
      <dsp:txXfrm>
        <a:off x="0" y="3714101"/>
        <a:ext cx="7784123" cy="41400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76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where age &gt; 33 </a:t>
          </a:r>
          <a:endParaRPr lang="en-US" sz="2000" kern="1200" dirty="0">
            <a:solidFill>
              <a:srgbClr val="000000"/>
            </a:solidFill>
          </a:endParaRPr>
        </a:p>
      </dsp:txBody>
      <dsp:txXfrm>
        <a:off x="20238" y="21003"/>
        <a:ext cx="7797238" cy="374108"/>
      </dsp:txXfrm>
    </dsp:sp>
    <dsp:sp modelId="{7DF0E90B-F299-4C47-8AFB-CFA50E0C37A3}">
      <dsp:nvSpPr>
        <dsp:cNvPr id="0" name=""/>
        <dsp:cNvSpPr/>
      </dsp:nvSpPr>
      <dsp:spPr>
        <a:xfrm>
          <a:off x="0" y="42779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ge:{$gt:33}})  </a:t>
          </a:r>
        </a:p>
      </dsp:txBody>
      <dsp:txXfrm>
        <a:off x="20238" y="448033"/>
        <a:ext cx="7797238" cy="374108"/>
      </dsp:txXfrm>
    </dsp:sp>
    <dsp:sp modelId="{1940ED73-10EA-4273-9164-10B507429929}">
      <dsp:nvSpPr>
        <dsp:cNvPr id="0" name=""/>
        <dsp:cNvSpPr/>
      </dsp:nvSpPr>
      <dsp:spPr>
        <a:xfrm>
          <a:off x="0" y="85482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ge!=33 </a:t>
          </a:r>
        </a:p>
      </dsp:txBody>
      <dsp:txXfrm>
        <a:off x="20238" y="875063"/>
        <a:ext cx="7797238" cy="374108"/>
      </dsp:txXfrm>
    </dsp:sp>
    <dsp:sp modelId="{B40BDD66-73C5-4C24-B5EE-1DF21780539B}">
      <dsp:nvSpPr>
        <dsp:cNvPr id="0" name=""/>
        <dsp:cNvSpPr/>
      </dsp:nvSpPr>
      <dsp:spPr>
        <a:xfrm>
          <a:off x="0" y="128185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ge:{$ne:33}})  </a:t>
          </a:r>
        </a:p>
      </dsp:txBody>
      <dsp:txXfrm>
        <a:off x="20238" y="1302093"/>
        <a:ext cx="7797238" cy="374108"/>
      </dsp:txXfrm>
    </dsp:sp>
    <dsp:sp modelId="{8634BA2E-250C-41CE-B618-AAC99AF8FDF9}">
      <dsp:nvSpPr>
        <dsp:cNvPr id="0" name=""/>
        <dsp:cNvSpPr/>
      </dsp:nvSpPr>
      <dsp:spPr>
        <a:xfrm>
          <a:off x="0" y="170888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name like “%Joe%” </a:t>
          </a:r>
        </a:p>
      </dsp:txBody>
      <dsp:txXfrm>
        <a:off x="20238" y="1729122"/>
        <a:ext cx="7797238" cy="374108"/>
      </dsp:txXfrm>
    </dsp:sp>
    <dsp:sp modelId="{CE964F1A-5B26-4B3F-B5F6-08108B1B92A6}">
      <dsp:nvSpPr>
        <dsp:cNvPr id="0" name=""/>
        <dsp:cNvSpPr/>
      </dsp:nvSpPr>
      <dsp:spPr>
        <a:xfrm>
          <a:off x="0" y="213591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name:/Joe/})   </a:t>
          </a:r>
        </a:p>
      </dsp:txBody>
      <dsp:txXfrm>
        <a:off x="20238" y="2156152"/>
        <a:ext cx="7797238" cy="374108"/>
      </dsp:txXfrm>
    </dsp:sp>
    <dsp:sp modelId="{E3FB2553-489D-465E-A454-2635EF931986}">
      <dsp:nvSpPr>
        <dsp:cNvPr id="0" name=""/>
        <dsp:cNvSpPr/>
      </dsp:nvSpPr>
      <dsp:spPr>
        <a:xfrm>
          <a:off x="0" y="256294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1 and b='q‘ </a:t>
          </a:r>
        </a:p>
      </dsp:txBody>
      <dsp:txXfrm>
        <a:off x="20238" y="2583182"/>
        <a:ext cx="7797238" cy="374108"/>
      </dsp:txXfrm>
    </dsp:sp>
    <dsp:sp modelId="{46DB3D3B-8B1A-4A8C-A449-BECE3CB3F733}">
      <dsp:nvSpPr>
        <dsp:cNvPr id="0" name=""/>
        <dsp:cNvSpPr/>
      </dsp:nvSpPr>
      <dsp:spPr>
        <a:xfrm>
          <a:off x="0" y="298997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1,b:'q'})  </a:t>
          </a:r>
        </a:p>
      </dsp:txBody>
      <dsp:txXfrm>
        <a:off x="20238" y="3010212"/>
        <a:ext cx="7797238" cy="374108"/>
      </dsp:txXfrm>
    </dsp:sp>
    <dsp:sp modelId="{56708CDC-BB68-4C64-A139-894BDBD42FC3}">
      <dsp:nvSpPr>
        <dsp:cNvPr id="0" name=""/>
        <dsp:cNvSpPr/>
      </dsp:nvSpPr>
      <dsp:spPr>
        <a:xfrm>
          <a:off x="0" y="341700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1 or b=2 </a:t>
          </a:r>
        </a:p>
      </dsp:txBody>
      <dsp:txXfrm>
        <a:off x="20238" y="3437242"/>
        <a:ext cx="7797238" cy="374108"/>
      </dsp:txXfrm>
    </dsp:sp>
    <dsp:sp modelId="{ADBC60EB-7B82-47F9-9E10-BA8B239488A1}">
      <dsp:nvSpPr>
        <dsp:cNvPr id="0" name=""/>
        <dsp:cNvSpPr/>
      </dsp:nvSpPr>
      <dsp:spPr>
        <a:xfrm>
          <a:off x="0" y="3844033"/>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 { $or : [ { a : 1 } , { b : 2 } ] } )</a:t>
          </a:r>
        </a:p>
      </dsp:txBody>
      <dsp:txXfrm>
        <a:off x="20238" y="3864271"/>
        <a:ext cx="7797238" cy="37410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326495"/>
          <a:ext cx="7556360" cy="44092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name from employees where salary &gt; 10000</a:t>
          </a:r>
          <a:endParaRPr lang="en-US" sz="2000" kern="1200" dirty="0">
            <a:solidFill>
              <a:srgbClr val="000000"/>
            </a:solidFill>
          </a:endParaRPr>
        </a:p>
      </dsp:txBody>
      <dsp:txXfrm>
        <a:off x="21524" y="1348019"/>
        <a:ext cx="7513312" cy="397879"/>
      </dsp:txXfrm>
    </dsp:sp>
    <dsp:sp modelId="{B86AA557-CE9C-49BF-B03B-36F4240EAA66}">
      <dsp:nvSpPr>
        <dsp:cNvPr id="0" name=""/>
        <dsp:cNvSpPr/>
      </dsp:nvSpPr>
      <dsp:spPr>
        <a:xfrm>
          <a:off x="0" y="1777436"/>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salary  : {$gt :10000 }} )</a:t>
          </a:r>
        </a:p>
      </dsp:txBody>
      <dsp:txXfrm>
        <a:off x="13371" y="1790807"/>
        <a:ext cx="7529618" cy="247168"/>
      </dsp:txXfrm>
    </dsp:sp>
    <dsp:sp modelId="{F6AADD40-1F84-4F74-AAC7-A2883E3D1BE6}">
      <dsp:nvSpPr>
        <dsp:cNvPr id="0" name=""/>
        <dsp:cNvSpPr/>
      </dsp:nvSpPr>
      <dsp:spPr>
        <a:xfrm>
          <a:off x="0" y="2061359"/>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firstname from employee where  salary &lt;=50000</a:t>
          </a:r>
        </a:p>
      </dsp:txBody>
      <dsp:txXfrm>
        <a:off x="13371" y="2074730"/>
        <a:ext cx="7529618" cy="247168"/>
      </dsp:txXfrm>
    </dsp:sp>
    <dsp:sp modelId="{DC47DEB8-FE98-4F43-A066-58C03B93028E}">
      <dsp:nvSpPr>
        <dsp:cNvPr id="0" name=""/>
        <dsp:cNvSpPr/>
      </dsp:nvSpPr>
      <dsp:spPr>
        <a:xfrm>
          <a:off x="0" y="2345282"/>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find({salary : {lte :50000}} )</a:t>
          </a:r>
        </a:p>
      </dsp:txBody>
      <dsp:txXfrm>
        <a:off x="13371" y="2358653"/>
        <a:ext cx="7529618" cy="247168"/>
      </dsp:txXfrm>
    </dsp:sp>
    <dsp:sp modelId="{652F038F-A09B-4D65-AEE8-DCBC5B29702E}">
      <dsp:nvSpPr>
        <dsp:cNvPr id="0" name=""/>
        <dsp:cNvSpPr/>
      </dsp:nvSpPr>
      <dsp:spPr>
        <a:xfrm>
          <a:off x="0" y="2629206"/>
          <a:ext cx="7556360" cy="3126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 where salary = 2000 and age =26</a:t>
          </a:r>
        </a:p>
      </dsp:txBody>
      <dsp:txXfrm>
        <a:off x="15260" y="2644466"/>
        <a:ext cx="7525840" cy="282080"/>
      </dsp:txXfrm>
    </dsp:sp>
    <dsp:sp modelId="{A59D1415-F54B-4C6A-801D-85A08EC69BFB}">
      <dsp:nvSpPr>
        <dsp:cNvPr id="0" name=""/>
        <dsp:cNvSpPr/>
      </dsp:nvSpPr>
      <dsp:spPr>
        <a:xfrm>
          <a:off x="0" y="2951819"/>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find({ $and  : [{salary :2000},{age : 26 }]})</a:t>
          </a:r>
        </a:p>
      </dsp:txBody>
      <dsp:txXfrm>
        <a:off x="13371" y="2965190"/>
        <a:ext cx="7529618" cy="247168"/>
      </dsp:txXfrm>
    </dsp:sp>
    <dsp:sp modelId="{6C931AB7-9C62-419A-94E2-77A1CCB3F609}">
      <dsp:nvSpPr>
        <dsp:cNvPr id="0" name=""/>
        <dsp:cNvSpPr/>
      </dsp:nvSpPr>
      <dsp:spPr>
        <a:xfrm>
          <a:off x="0" y="3235742"/>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 where salary =2000 or age =26</a:t>
          </a:r>
        </a:p>
      </dsp:txBody>
      <dsp:txXfrm>
        <a:off x="13371" y="3249113"/>
        <a:ext cx="7529618" cy="247168"/>
      </dsp:txXfrm>
    </dsp:sp>
    <dsp:sp modelId="{DF8F895E-BBB2-4368-B1EC-830618FFA55C}">
      <dsp:nvSpPr>
        <dsp:cNvPr id="0" name=""/>
        <dsp:cNvSpPr/>
      </dsp:nvSpPr>
      <dsp:spPr>
        <a:xfrm>
          <a:off x="0" y="3519665"/>
          <a:ext cx="7556360" cy="48405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or”:[{“salary”:2000},{“age”:26}]})</a:t>
          </a:r>
          <a:endParaRPr lang="en-US" sz="2000" kern="1200" dirty="0">
            <a:solidFill>
              <a:srgbClr val="000000"/>
            </a:solidFill>
          </a:endParaRPr>
        </a:p>
      </dsp:txBody>
      <dsp:txXfrm>
        <a:off x="23630" y="3543295"/>
        <a:ext cx="7509100" cy="43679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977"/>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e:</a:t>
          </a:r>
          <a:endParaRPr lang="en-US" sz="2000" kern="1200" dirty="0">
            <a:solidFill>
              <a:srgbClr val="000000"/>
            </a:solidFill>
          </a:endParaRPr>
        </a:p>
      </dsp:txBody>
      <dsp:txXfrm>
        <a:off x="22228" y="23205"/>
        <a:ext cx="7471711" cy="410884"/>
      </dsp:txXfrm>
    </dsp:sp>
    <dsp:sp modelId="{D35D2B51-CDB9-456F-AB69-03B1DA780EB7}">
      <dsp:nvSpPr>
        <dsp:cNvPr id="0" name=""/>
        <dsp:cNvSpPr/>
      </dsp:nvSpPr>
      <dsp:spPr>
        <a:xfrm>
          <a:off x="0" y="456317"/>
          <a:ext cx="7516167" cy="579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ne:  “Shaggy”} } )</a:t>
          </a:r>
          <a:endParaRPr lang="en-US" sz="2000" kern="1200" dirty="0">
            <a:solidFill>
              <a:srgbClr val="000000"/>
            </a:solidFill>
          </a:endParaRPr>
        </a:p>
      </dsp:txBody>
      <dsp:txXfrm>
        <a:off x="0" y="456317"/>
        <a:ext cx="7516167" cy="579640"/>
      </dsp:txXfrm>
    </dsp:sp>
    <dsp:sp modelId="{70CDB5AC-1678-4F15-A03F-AA12201AA6CE}">
      <dsp:nvSpPr>
        <dsp:cNvPr id="0" name=""/>
        <dsp:cNvSpPr/>
      </dsp:nvSpPr>
      <dsp:spPr>
        <a:xfrm>
          <a:off x="0" y="1035958"/>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in:</a:t>
          </a:r>
        </a:p>
      </dsp:txBody>
      <dsp:txXfrm>
        <a:off x="22228" y="1058186"/>
        <a:ext cx="7471711" cy="410884"/>
      </dsp:txXfrm>
    </dsp:sp>
    <dsp:sp modelId="{34B0940A-CF69-45FE-ADA7-68A6C4EB25AC}">
      <dsp:nvSpPr>
        <dsp:cNvPr id="0" name=""/>
        <dsp:cNvSpPr/>
      </dsp:nvSpPr>
      <dsp:spPr>
        <a:xfrm>
          <a:off x="0" y="1491298"/>
          <a:ext cx="7516167" cy="579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nin: [“Shaggy”, “Daphne”] } } )</a:t>
          </a:r>
          <a:endParaRPr lang="en-US" sz="2000" kern="1200" dirty="0">
            <a:solidFill>
              <a:srgbClr val="000000"/>
            </a:solidFill>
          </a:endParaRPr>
        </a:p>
      </dsp:txBody>
      <dsp:txXfrm>
        <a:off x="0" y="1491298"/>
        <a:ext cx="7516167" cy="579640"/>
      </dsp:txXfrm>
    </dsp:sp>
    <dsp:sp modelId="{521AF44D-2312-44F2-88BC-685002F3089C}">
      <dsp:nvSpPr>
        <dsp:cNvPr id="0" name=""/>
        <dsp:cNvSpPr/>
      </dsp:nvSpPr>
      <dsp:spPr>
        <a:xfrm>
          <a:off x="0" y="2070938"/>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gt and $lt:</a:t>
          </a:r>
        </a:p>
      </dsp:txBody>
      <dsp:txXfrm>
        <a:off x="22228" y="2093166"/>
        <a:ext cx="7471711" cy="410884"/>
      </dsp:txXfrm>
    </dsp:sp>
    <dsp:sp modelId="{EF4BD359-D437-47D3-BDAF-3616561C6D1E}">
      <dsp:nvSpPr>
        <dsp:cNvPr id="0" name=""/>
        <dsp:cNvSpPr/>
      </dsp:nvSpPr>
      <dsp:spPr>
        <a:xfrm>
          <a:off x="0" y="2526279"/>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AGE: { {$gt: 30, $lt: 35} } )</a:t>
          </a:r>
        </a:p>
      </dsp:txBody>
      <dsp:txXfrm>
        <a:off x="0" y="2526279"/>
        <a:ext cx="7516167" cy="314381"/>
      </dsp:txXfrm>
    </dsp:sp>
    <dsp:sp modelId="{FAAB3C50-1830-4577-B412-EB97DEF14883}">
      <dsp:nvSpPr>
        <dsp:cNvPr id="0" name=""/>
        <dsp:cNvSpPr/>
      </dsp:nvSpPr>
      <dsp:spPr>
        <a:xfrm>
          <a:off x="0" y="2840660"/>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ize (eg, employee with exactly 3 kids):</a:t>
          </a:r>
        </a:p>
      </dsp:txBody>
      <dsp:txXfrm>
        <a:off x="22228" y="2862888"/>
        <a:ext cx="7471711" cy="410884"/>
      </dsp:txXfrm>
    </dsp:sp>
    <dsp:sp modelId="{3C5A6C0E-1090-4A43-9846-8BB06CD1D924}">
      <dsp:nvSpPr>
        <dsp:cNvPr id="0" name=""/>
        <dsp:cNvSpPr/>
      </dsp:nvSpPr>
      <dsp:spPr>
        <a:xfrm>
          <a:off x="0" y="3296000"/>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find( KIDS: {$size: 3} )</a:t>
          </a:r>
        </a:p>
      </dsp:txBody>
      <dsp:txXfrm>
        <a:off x="0" y="3296000"/>
        <a:ext cx="7516167" cy="314381"/>
      </dsp:txXfrm>
    </dsp:sp>
    <dsp:sp modelId="{F831EABA-5D54-4DBD-B20D-2E9BCC9265FC}">
      <dsp:nvSpPr>
        <dsp:cNvPr id="0" name=""/>
        <dsp:cNvSpPr/>
      </dsp:nvSpPr>
      <dsp:spPr>
        <a:xfrm>
          <a:off x="0" y="3610381"/>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regex: (eg, names starting with Ma or Mi)</a:t>
          </a:r>
        </a:p>
      </dsp:txBody>
      <dsp:txXfrm>
        <a:off x="22228" y="3632609"/>
        <a:ext cx="7471711" cy="410884"/>
      </dsp:txXfrm>
    </dsp:sp>
    <dsp:sp modelId="{B779D05F-FD74-4E5D-9F36-0B80BA61AE08}">
      <dsp:nvSpPr>
        <dsp:cNvPr id="0" name=""/>
        <dsp:cNvSpPr/>
      </dsp:nvSpPr>
      <dsp:spPr>
        <a:xfrm>
          <a:off x="0" y="4065722"/>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firstname: /^K(a|i)/} )</a:t>
          </a:r>
        </a:p>
      </dsp:txBody>
      <dsp:txXfrm>
        <a:off x="0" y="4065722"/>
        <a:ext cx="7516167" cy="314381"/>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5404"/>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Like Query:</a:t>
          </a:r>
          <a:endParaRPr lang="en-US" sz="2000" kern="1200" dirty="0">
            <a:solidFill>
              <a:srgbClr val="000000"/>
            </a:solidFill>
          </a:endParaRPr>
        </a:p>
      </dsp:txBody>
      <dsp:txXfrm>
        <a:off x="35640" y="61044"/>
        <a:ext cx="7150135" cy="658800"/>
      </dsp:txXfrm>
    </dsp:sp>
    <dsp:sp modelId="{D35D2B51-CDB9-456F-AB69-03B1DA780EB7}">
      <dsp:nvSpPr>
        <dsp:cNvPr id="0" name=""/>
        <dsp:cNvSpPr/>
      </dsp:nvSpPr>
      <dsp:spPr>
        <a:xfrm>
          <a:off x="0" y="755484"/>
          <a:ext cx="7221415"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firstname:/^an/} )</a:t>
          </a:r>
        </a:p>
      </dsp:txBody>
      <dsp:txXfrm>
        <a:off x="0" y="755484"/>
        <a:ext cx="7221415" cy="645840"/>
      </dsp:txXfrm>
    </dsp:sp>
    <dsp:sp modelId="{E8CACB1F-978C-41CC-A5FF-0E876DF13E2B}">
      <dsp:nvSpPr>
        <dsp:cNvPr id="0" name=""/>
        <dsp:cNvSpPr/>
      </dsp:nvSpPr>
      <dsp:spPr>
        <a:xfrm>
          <a:off x="0" y="1401324"/>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ort Query: </a:t>
          </a:r>
        </a:p>
      </dsp:txBody>
      <dsp:txXfrm>
        <a:off x="35640" y="1436964"/>
        <a:ext cx="7150135" cy="658800"/>
      </dsp:txXfrm>
    </dsp:sp>
    <dsp:sp modelId="{92E32F99-F753-4F50-8A51-CF17C879E123}">
      <dsp:nvSpPr>
        <dsp:cNvPr id="0" name=""/>
        <dsp:cNvSpPr/>
      </dsp:nvSpPr>
      <dsp:spPr>
        <a:xfrm>
          <a:off x="0" y="2131404"/>
          <a:ext cx="7221415" cy="1009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1  for ascending sort</a:t>
          </a:r>
        </a:p>
        <a:p>
          <a:pPr marL="228600" lvl="1" indent="-228600" algn="l" defTabSz="889000">
            <a:lnSpc>
              <a:spcPct val="90000"/>
            </a:lnSpc>
            <a:spcBef>
              <a:spcPct val="0"/>
            </a:spcBef>
            <a:spcAft>
              <a:spcPct val="20000"/>
            </a:spcAft>
            <a:buChar char="••"/>
          </a:pPr>
          <a:r>
            <a:rPr lang="en-US" sz="2000" kern="1200" dirty="0" smtClean="0">
              <a:solidFill>
                <a:srgbClr val="000000"/>
              </a:solidFill>
            </a:rPr>
            <a:t>-1 for descending sort        </a:t>
          </a: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sort( {firstame:-1, age:1} );</a:t>
          </a:r>
        </a:p>
      </dsp:txBody>
      <dsp:txXfrm>
        <a:off x="0" y="2131404"/>
        <a:ext cx="7221415" cy="1009125"/>
      </dsp:txXfrm>
    </dsp:sp>
    <dsp:sp modelId="{7EEEF63B-AB8D-436F-8506-C75176339987}">
      <dsp:nvSpPr>
        <dsp:cNvPr id="0" name=""/>
        <dsp:cNvSpPr/>
      </dsp:nvSpPr>
      <dsp:spPr>
        <a:xfrm>
          <a:off x="0" y="3140529"/>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Limit Query: </a:t>
          </a:r>
        </a:p>
      </dsp:txBody>
      <dsp:txXfrm>
        <a:off x="35640" y="3176169"/>
        <a:ext cx="7150135" cy="658800"/>
      </dsp:txXfrm>
    </dsp:sp>
    <dsp:sp modelId="{EB656B1B-16AE-494F-BF5C-FDE471797109}">
      <dsp:nvSpPr>
        <dsp:cNvPr id="0" name=""/>
        <dsp:cNvSpPr/>
      </dsp:nvSpPr>
      <dsp:spPr>
        <a:xfrm>
          <a:off x="0" y="3870609"/>
          <a:ext cx="7221415"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limit(10); </a:t>
          </a:r>
          <a:endParaRPr lang="en-US" sz="2000" kern="1200" dirty="0">
            <a:solidFill>
              <a:srgbClr val="000000"/>
            </a:solidFill>
          </a:endParaRPr>
        </a:p>
      </dsp:txBody>
      <dsp:txXfrm>
        <a:off x="0" y="3870609"/>
        <a:ext cx="7221415" cy="64584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8726"/>
          <a:ext cx="7221415" cy="7113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Count Query: </a:t>
          </a:r>
          <a:endParaRPr lang="en-US" sz="2000" kern="1200" dirty="0">
            <a:solidFill>
              <a:srgbClr val="000000"/>
            </a:solidFill>
          </a:endParaRPr>
        </a:p>
      </dsp:txBody>
      <dsp:txXfrm>
        <a:off x="34726" y="63452"/>
        <a:ext cx="7151963" cy="641908"/>
      </dsp:txXfrm>
    </dsp:sp>
    <dsp:sp modelId="{D35D2B51-CDB9-456F-AB69-03B1DA780EB7}">
      <dsp:nvSpPr>
        <dsp:cNvPr id="0" name=""/>
        <dsp:cNvSpPr/>
      </dsp:nvSpPr>
      <dsp:spPr>
        <a:xfrm>
          <a:off x="0" y="740086"/>
          <a:ext cx="7221415"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count();</a:t>
          </a:r>
        </a:p>
      </dsp:txBody>
      <dsp:txXfrm>
        <a:off x="0" y="740086"/>
        <a:ext cx="7221415" cy="629280"/>
      </dsp:txXfrm>
    </dsp:sp>
    <dsp:sp modelId="{DF7AAEE0-D9D5-4768-99C3-3E991778E7EA}">
      <dsp:nvSpPr>
        <dsp:cNvPr id="0" name=""/>
        <dsp:cNvSpPr/>
      </dsp:nvSpPr>
      <dsp:spPr>
        <a:xfrm>
          <a:off x="0" y="1369366"/>
          <a:ext cx="7221415" cy="7113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kip Query: </a:t>
          </a:r>
        </a:p>
      </dsp:txBody>
      <dsp:txXfrm>
        <a:off x="34726" y="1404092"/>
        <a:ext cx="7151963" cy="641908"/>
      </dsp:txXfrm>
    </dsp:sp>
    <dsp:sp modelId="{3937A03A-F828-43D5-A96C-11F2A6843ADA}">
      <dsp:nvSpPr>
        <dsp:cNvPr id="0" name=""/>
        <dsp:cNvSpPr/>
      </dsp:nvSpPr>
      <dsp:spPr>
        <a:xfrm>
          <a:off x="0" y="2080726"/>
          <a:ext cx="7221415"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skip(5);</a:t>
          </a:r>
          <a:endParaRPr lang="en-US" sz="2000" kern="1200" dirty="0">
            <a:solidFill>
              <a:srgbClr val="000000"/>
            </a:solidFill>
          </a:endParaRPr>
        </a:p>
      </dsp:txBody>
      <dsp:txXfrm>
        <a:off x="0" y="2080726"/>
        <a:ext cx="7221415" cy="62928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7877908" cy="9767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Querying for an entire embedded document works identically to a normal query.</a:t>
          </a:r>
          <a:endParaRPr lang="en-US" sz="2000" kern="1200" dirty="0">
            <a:solidFill>
              <a:srgbClr val="000000"/>
            </a:solidFill>
          </a:endParaRPr>
        </a:p>
      </dsp:txBody>
      <dsp:txXfrm>
        <a:off x="47679" y="47679"/>
        <a:ext cx="7782550" cy="881352"/>
      </dsp:txXfrm>
    </dsp:sp>
    <dsp:sp modelId="{D35D2B51-CDB9-456F-AB69-03B1DA780EB7}">
      <dsp:nvSpPr>
        <dsp:cNvPr id="0" name=""/>
        <dsp:cNvSpPr/>
      </dsp:nvSpPr>
      <dsp:spPr>
        <a:xfrm>
          <a:off x="0" y="987260"/>
          <a:ext cx="7877908" cy="1238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name: { first:"Amit", last:"Kumar" } } )</a:t>
          </a:r>
        </a:p>
        <a:p>
          <a:pPr marL="228600" lvl="1" indent="-228600" algn="l" defTabSz="889000">
            <a:lnSpc>
              <a:spcPct val="90000"/>
            </a:lnSpc>
            <a:spcBef>
              <a:spcPct val="0"/>
            </a:spcBef>
            <a:spcAft>
              <a:spcPct val="20000"/>
            </a:spcAft>
            <a:buChar char="••"/>
          </a:pPr>
          <a:r>
            <a:rPr lang="en-US" sz="2000" kern="1200" dirty="0" smtClean="0">
              <a:solidFill>
                <a:srgbClr val="000000"/>
              </a:solidFill>
            </a:rPr>
            <a:t>This query will do exact match and order too matters, if order will change then it will not find.</a:t>
          </a:r>
        </a:p>
      </dsp:txBody>
      <dsp:txXfrm>
        <a:off x="0" y="987260"/>
        <a:ext cx="7877908" cy="1238895"/>
      </dsp:txXfrm>
    </dsp:sp>
    <dsp:sp modelId="{AB6F7BDB-CEEB-45B1-95E9-A867F00D7C62}">
      <dsp:nvSpPr>
        <dsp:cNvPr id="0" name=""/>
        <dsp:cNvSpPr/>
      </dsp:nvSpPr>
      <dsp:spPr>
        <a:xfrm>
          <a:off x="0" y="2226155"/>
          <a:ext cx="7877908" cy="78401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Querying for its individual key/value pairs.</a:t>
          </a:r>
        </a:p>
      </dsp:txBody>
      <dsp:txXfrm>
        <a:off x="38272" y="2264427"/>
        <a:ext cx="7801364" cy="707470"/>
      </dsp:txXfrm>
    </dsp:sp>
    <dsp:sp modelId="{14B902FF-9445-41EC-8D7B-742DF41DE420}">
      <dsp:nvSpPr>
        <dsp:cNvPr id="0" name=""/>
        <dsp:cNvSpPr/>
      </dsp:nvSpPr>
      <dsp:spPr>
        <a:xfrm>
          <a:off x="0" y="3010170"/>
          <a:ext cx="7877908"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name.first" : "Amit", "name.last" : "Kumar"}) </a:t>
          </a:r>
          <a:endParaRPr lang="en-US" sz="2000" kern="1200" dirty="0">
            <a:solidFill>
              <a:srgbClr val="000000"/>
            </a:solidFill>
          </a:endParaRPr>
        </a:p>
      </dsp:txBody>
      <dsp:txXfrm>
        <a:off x="0" y="3010170"/>
        <a:ext cx="7877908" cy="10432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08E0DB-BDA5-4631-8378-3EDC0BD972DF}">
      <dsp:nvSpPr>
        <dsp:cNvPr id="0" name=""/>
        <dsp:cNvSpPr/>
      </dsp:nvSpPr>
      <dsp:spPr>
        <a:xfrm>
          <a:off x="0" y="3235"/>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o insert data into MongoDB collection, we have a method </a:t>
          </a:r>
        </a:p>
        <a:p>
          <a:pPr lvl="0" algn="l" defTabSz="889000">
            <a:lnSpc>
              <a:spcPct val="90000"/>
            </a:lnSpc>
            <a:spcBef>
              <a:spcPct val="0"/>
            </a:spcBef>
            <a:spcAft>
              <a:spcPct val="35000"/>
            </a:spcAft>
          </a:pPr>
          <a:r>
            <a:rPr lang="en-US" sz="2000" kern="1200" dirty="0" smtClean="0"/>
            <a:t>called insert() or save() method.</a:t>
          </a:r>
          <a:endParaRPr lang="en-US" sz="2000" kern="1200" dirty="0"/>
        </a:p>
      </dsp:txBody>
      <dsp:txXfrm>
        <a:off x="46013" y="49248"/>
        <a:ext cx="6897353" cy="850547"/>
      </dsp:txXfrm>
    </dsp:sp>
    <dsp:sp modelId="{D9E314A4-6812-424B-8AB3-364CFD639117}">
      <dsp:nvSpPr>
        <dsp:cNvPr id="0" name=""/>
        <dsp:cNvSpPr/>
      </dsp:nvSpPr>
      <dsp:spPr>
        <a:xfrm>
          <a:off x="0" y="956963"/>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Basic syntax of </a:t>
          </a:r>
          <a:r>
            <a:rPr lang="en-US" sz="2000" b="1" kern="1200" dirty="0" smtClean="0"/>
            <a:t>insert()</a:t>
          </a:r>
          <a:r>
            <a:rPr lang="en-US" sz="2000" kern="1200" dirty="0" smtClean="0"/>
            <a:t> command is as follows:</a:t>
          </a:r>
          <a:endParaRPr lang="en-US" sz="2000" kern="1200" dirty="0"/>
        </a:p>
      </dsp:txBody>
      <dsp:txXfrm>
        <a:off x="46013" y="1002976"/>
        <a:ext cx="6897353" cy="850547"/>
      </dsp:txXfrm>
    </dsp:sp>
    <dsp:sp modelId="{7052E5B6-926E-46A7-AAB3-AFFC842292D3}">
      <dsp:nvSpPr>
        <dsp:cNvPr id="0" name=""/>
        <dsp:cNvSpPr/>
      </dsp:nvSpPr>
      <dsp:spPr>
        <a:xfrm>
          <a:off x="0" y="1933319"/>
          <a:ext cx="6989379" cy="256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19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gt;db.COLLECTION_NAME.insert(document)   </a:t>
          </a:r>
          <a:endParaRPr lang="en-US" sz="2000" kern="1200" dirty="0"/>
        </a:p>
      </dsp:txBody>
      <dsp:txXfrm>
        <a:off x="0" y="1933319"/>
        <a:ext cx="6989379" cy="256558"/>
      </dsp:txXfrm>
    </dsp:sp>
    <dsp:sp modelId="{0B956094-1158-40F4-8A7C-7F87983C5BE4}">
      <dsp:nvSpPr>
        <dsp:cNvPr id="0" name=""/>
        <dsp:cNvSpPr/>
      </dsp:nvSpPr>
      <dsp:spPr>
        <a:xfrm>
          <a:off x="0" y="1785747"/>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xample:</a:t>
          </a:r>
          <a:endParaRPr lang="en-US" sz="2000" kern="1200" dirty="0"/>
        </a:p>
      </dsp:txBody>
      <dsp:txXfrm>
        <a:off x="46013" y="1831760"/>
        <a:ext cx="6897353" cy="850547"/>
      </dsp:txXfrm>
    </dsp:sp>
    <dsp:sp modelId="{58A39F69-D2EF-4C61-AF6B-DAB04120F653}">
      <dsp:nvSpPr>
        <dsp:cNvPr id="0" name=""/>
        <dsp:cNvSpPr/>
      </dsp:nvSpPr>
      <dsp:spPr>
        <a:xfrm>
          <a:off x="0" y="2845306"/>
          <a:ext cx="6989379" cy="96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19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tutorialspoint.insert({"name":"tutorialspoint"}) </a:t>
          </a:r>
          <a:endParaRPr lang="en-US" sz="2000" kern="1200" dirty="0"/>
        </a:p>
        <a:p>
          <a:pPr marL="228600" lvl="1" indent="-228600" algn="l" defTabSz="889000">
            <a:lnSpc>
              <a:spcPct val="90000"/>
            </a:lnSpc>
            <a:spcBef>
              <a:spcPct val="0"/>
            </a:spcBef>
            <a:spcAft>
              <a:spcPct val="20000"/>
            </a:spcAft>
            <a:buChar char="••"/>
          </a:pPr>
          <a:r>
            <a:rPr lang="en-US" sz="2000" kern="1200" dirty="0" smtClean="0"/>
            <a:t>db.nextTable.save({column1:"value",column2:"value",...})'</a:t>
          </a:r>
          <a:endParaRPr lang="en-US" sz="2000" kern="1200" dirty="0"/>
        </a:p>
      </dsp:txBody>
      <dsp:txXfrm>
        <a:off x="0" y="2845306"/>
        <a:ext cx="6989379" cy="96209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235"/>
          <a:ext cx="7958294" cy="74199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of querying for an embedded document.</a:t>
          </a:r>
          <a:endParaRPr lang="en-US" sz="2000" kern="1200" dirty="0"/>
        </a:p>
      </dsp:txBody>
      <dsp:txXfrm>
        <a:off x="36221" y="36456"/>
        <a:ext cx="7885852" cy="669548"/>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1039"/>
          <a:ext cx="7983415" cy="1067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fnamename=‘bob’ and (age=30 or age=50 ) </a:t>
          </a:r>
          <a:endParaRPr lang="en-US" sz="2000" kern="1200" dirty="0">
            <a:solidFill>
              <a:srgbClr val="000000"/>
            </a:solidFill>
          </a:endParaRPr>
        </a:p>
      </dsp:txBody>
      <dsp:txXfrm>
        <a:off x="52089" y="73128"/>
        <a:ext cx="7879237" cy="962862"/>
      </dsp:txXfrm>
    </dsp:sp>
    <dsp:sp modelId="{D35D2B51-CDB9-456F-AB69-03B1DA780EB7}">
      <dsp:nvSpPr>
        <dsp:cNvPr id="0" name=""/>
        <dsp:cNvSpPr/>
      </dsp:nvSpPr>
      <dsp:spPr>
        <a:xfrm>
          <a:off x="0" y="1088080"/>
          <a:ext cx="7983415" cy="94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bob" , $or : [ { age : 30 } , { age : 50 } ] } ) </a:t>
          </a:r>
        </a:p>
      </dsp:txBody>
      <dsp:txXfrm>
        <a:off x="0" y="1088080"/>
        <a:ext cx="7983415" cy="943920"/>
      </dsp:txXfrm>
    </dsp:sp>
    <dsp:sp modelId="{30E43795-5C9A-42DF-A6D2-A8D67B737282}">
      <dsp:nvSpPr>
        <dsp:cNvPr id="0" name=""/>
        <dsp:cNvSpPr/>
      </dsp:nvSpPr>
      <dsp:spPr>
        <a:xfrm>
          <a:off x="0" y="2032000"/>
          <a:ext cx="7983415" cy="1067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ge&gt;33 AND age&lt;=40  </a:t>
          </a:r>
        </a:p>
      </dsp:txBody>
      <dsp:txXfrm>
        <a:off x="52089" y="2084089"/>
        <a:ext cx="7879237" cy="962862"/>
      </dsp:txXfrm>
    </dsp:sp>
    <dsp:sp modelId="{7319FB97-A4B8-409E-A6B8-05659635C63B}">
      <dsp:nvSpPr>
        <dsp:cNvPr id="0" name=""/>
        <dsp:cNvSpPr/>
      </dsp:nvSpPr>
      <dsp:spPr>
        <a:xfrm>
          <a:off x="0" y="3099040"/>
          <a:ext cx="7983415" cy="94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gt:33,$lte:40}}) </a:t>
          </a:r>
        </a:p>
      </dsp:txBody>
      <dsp:txXfrm>
        <a:off x="0" y="3099040"/>
        <a:ext cx="7983415" cy="94392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118"/>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ll queries in MongoDB address a single Collection </a:t>
          </a:r>
          <a:endParaRPr lang="en-US" sz="2000" kern="1200" dirty="0">
            <a:solidFill>
              <a:srgbClr val="000000"/>
            </a:solidFill>
          </a:endParaRPr>
        </a:p>
      </dsp:txBody>
      <dsp:txXfrm>
        <a:off x="41225" y="43343"/>
        <a:ext cx="7813042" cy="762049"/>
      </dsp:txXfrm>
    </dsp:sp>
    <dsp:sp modelId="{F7435433-BF1D-4A04-A683-840D07B2CA2E}">
      <dsp:nvSpPr>
        <dsp:cNvPr id="0" name=""/>
        <dsp:cNvSpPr/>
      </dsp:nvSpPr>
      <dsp:spPr>
        <a:xfrm>
          <a:off x="0" y="857502"/>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Modify the query to  impose limits ,skips  and sort orders</a:t>
          </a:r>
        </a:p>
      </dsp:txBody>
      <dsp:txXfrm>
        <a:off x="41225" y="898727"/>
        <a:ext cx="7813042" cy="762049"/>
      </dsp:txXfrm>
    </dsp:sp>
    <dsp:sp modelId="{2FA72631-E69B-4500-94C2-086667B7D641}">
      <dsp:nvSpPr>
        <dsp:cNvPr id="0" name=""/>
        <dsp:cNvSpPr/>
      </dsp:nvSpPr>
      <dsp:spPr>
        <a:xfrm>
          <a:off x="0" y="1712885"/>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order of documents returned by a query is not defined unless you specify a sort() </a:t>
          </a:r>
        </a:p>
      </dsp:txBody>
      <dsp:txXfrm>
        <a:off x="41225" y="1754110"/>
        <a:ext cx="7813042" cy="762049"/>
      </dsp:txXfrm>
    </dsp:sp>
    <dsp:sp modelId="{08893B36-BB4B-4652-BBDC-21E246C43F7D}">
      <dsp:nvSpPr>
        <dsp:cNvPr id="0" name=""/>
        <dsp:cNvSpPr/>
      </dsp:nvSpPr>
      <dsp:spPr>
        <a:xfrm>
          <a:off x="0" y="2568268"/>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Operations that modify existing documents (i.e. updates) use the same query syntax as queries to select documents to update </a:t>
          </a:r>
        </a:p>
      </dsp:txBody>
      <dsp:txXfrm>
        <a:off x="41225" y="2609493"/>
        <a:ext cx="7813042" cy="762049"/>
      </dsp:txXfrm>
    </dsp:sp>
    <dsp:sp modelId="{1141FC7B-6105-4B7F-A53A-3C7193F17EAD}">
      <dsp:nvSpPr>
        <dsp:cNvPr id="0" name=""/>
        <dsp:cNvSpPr/>
      </dsp:nvSpPr>
      <dsp:spPr>
        <a:xfrm>
          <a:off x="0" y="3423652"/>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 aggregation  pipeline , the $match pipeline stage provides access to MongoDB queries</a:t>
          </a:r>
        </a:p>
      </dsp:txBody>
      <dsp:txXfrm>
        <a:off x="41225" y="3464877"/>
        <a:ext cx="7813042" cy="762049"/>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8018585" cy="19063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sort documents in MongoDB, you need to use </a:t>
          </a:r>
          <a:r>
            <a:rPr lang="en-US" sz="2000" b="1" kern="1200" dirty="0" smtClean="0">
              <a:solidFill>
                <a:srgbClr val="000000"/>
              </a:solidFill>
            </a:rPr>
            <a:t>sort()</a:t>
          </a:r>
          <a:r>
            <a:rPr lang="en-US" sz="2000" kern="1200" dirty="0" smtClean="0">
              <a:solidFill>
                <a:srgbClr val="000000"/>
              </a:solidFill>
            </a:rPr>
            <a:t> method. </a:t>
          </a:r>
          <a:r>
            <a:rPr lang="en-US" sz="2000" b="1" kern="1200" dirty="0" smtClean="0">
              <a:solidFill>
                <a:srgbClr val="000000"/>
              </a:solidFill>
            </a:rPr>
            <a:t>sort()</a:t>
          </a:r>
          <a:r>
            <a:rPr lang="en-US" sz="2000" kern="1200" dirty="0" smtClean="0">
              <a:solidFill>
                <a:srgbClr val="000000"/>
              </a:solidFill>
            </a:rPr>
            <a:t> method accepts a document containing list of fields along with their sorting order. To specify sorting order 1 and -1 are used. 1 is used for ascending order while -1 is used for descending order</a:t>
          </a:r>
          <a:endParaRPr lang="en-US" sz="2000" kern="1200" dirty="0">
            <a:solidFill>
              <a:srgbClr val="000000"/>
            </a:solidFill>
          </a:endParaRPr>
        </a:p>
      </dsp:txBody>
      <dsp:txXfrm>
        <a:off x="93059" y="93059"/>
        <a:ext cx="7832467" cy="1720207"/>
      </dsp:txXfrm>
    </dsp:sp>
    <dsp:sp modelId="{D35D2B51-CDB9-456F-AB69-03B1DA780EB7}">
      <dsp:nvSpPr>
        <dsp:cNvPr id="0" name=""/>
        <dsp:cNvSpPr/>
      </dsp:nvSpPr>
      <dsp:spPr>
        <a:xfrm>
          <a:off x="0" y="2115321"/>
          <a:ext cx="8018585" cy="1658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5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employees.find().sort({lastname:-1})</a:t>
          </a:r>
          <a:endParaRPr lang="en-US" sz="2000" kern="1200" dirty="0" smtClean="0">
            <a:solidFill>
              <a:srgbClr val="000000"/>
            </a:solidFill>
          </a:endParaRPr>
        </a:p>
        <a:p>
          <a:pPr marL="342900" lvl="2" indent="-171450" algn="l" defTabSz="711200">
            <a:lnSpc>
              <a:spcPct val="90000"/>
            </a:lnSpc>
            <a:spcBef>
              <a:spcPct val="0"/>
            </a:spcBef>
            <a:spcAft>
              <a:spcPct val="20000"/>
            </a:spcAft>
            <a:buChar char="••"/>
          </a:pPr>
          <a:r>
            <a:rPr lang="en-US" sz="1600" kern="1200" dirty="0" smtClean="0"/>
            <a:t>OR</a:t>
          </a:r>
        </a:p>
        <a:p>
          <a:pPr marL="342900" lvl="2" indent="-171450" algn="l" defTabSz="711200">
            <a:lnSpc>
              <a:spcPct val="90000"/>
            </a:lnSpc>
            <a:spcBef>
              <a:spcPct val="0"/>
            </a:spcBef>
            <a:spcAft>
              <a:spcPct val="20000"/>
            </a:spcAft>
            <a:buChar char="••"/>
          </a:pPr>
          <a:r>
            <a:rPr lang="en-US" sz="1600" kern="1200" dirty="0" smtClean="0"/>
            <a:t>db.employees.find().sort({lastname:1})</a:t>
          </a:r>
        </a:p>
        <a:p>
          <a:pPr marL="514350" lvl="3" indent="-171450" algn="l" defTabSz="711200">
            <a:lnSpc>
              <a:spcPct val="90000"/>
            </a:lnSpc>
            <a:spcBef>
              <a:spcPct val="0"/>
            </a:spcBef>
            <a:spcAft>
              <a:spcPct val="20000"/>
            </a:spcAft>
            <a:buChar char="••"/>
          </a:pPr>
          <a:r>
            <a:rPr lang="en-US" sz="1600" kern="1200" dirty="0" smtClean="0"/>
            <a:t>OR</a:t>
          </a:r>
        </a:p>
        <a:p>
          <a:pPr marL="342900" lvl="2" indent="-171450" algn="l" defTabSz="711200">
            <a:lnSpc>
              <a:spcPct val="90000"/>
            </a:lnSpc>
            <a:spcBef>
              <a:spcPct val="0"/>
            </a:spcBef>
            <a:spcAft>
              <a:spcPct val="20000"/>
            </a:spcAft>
            <a:buChar char="••"/>
          </a:pPr>
          <a:r>
            <a:rPr lang="en-US" sz="1600" kern="1200" dirty="0" smtClean="0"/>
            <a:t>db.employees.find().sort({lastname:-1}).pretty()</a:t>
          </a:r>
          <a:endParaRPr lang="en-US" sz="1600" kern="1200" dirty="0"/>
        </a:p>
      </dsp:txBody>
      <dsp:txXfrm>
        <a:off x="0" y="2115321"/>
        <a:ext cx="8018585" cy="1658341"/>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98"/>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database returns results from find using a cursor. </a:t>
          </a:r>
          <a:endParaRPr lang="en-US" sz="2000" kern="1200" dirty="0">
            <a:solidFill>
              <a:srgbClr val="000000"/>
            </a:solidFill>
          </a:endParaRPr>
        </a:p>
      </dsp:txBody>
      <dsp:txXfrm>
        <a:off x="52460" y="52558"/>
        <a:ext cx="7860911" cy="969720"/>
      </dsp:txXfrm>
    </dsp:sp>
    <dsp:sp modelId="{59E48C42-8BAB-4860-A325-6004150CCBB2}">
      <dsp:nvSpPr>
        <dsp:cNvPr id="0" name=""/>
        <dsp:cNvSpPr/>
      </dsp:nvSpPr>
      <dsp:spPr>
        <a:xfrm>
          <a:off x="0" y="108868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we do not store the results in a variable, the MongoDB shell will automatically iterate through and display the first couple of documents. </a:t>
          </a:r>
          <a:endParaRPr lang="en-US" sz="2000" kern="1200" dirty="0">
            <a:solidFill>
              <a:srgbClr val="000000"/>
            </a:solidFill>
          </a:endParaRPr>
        </a:p>
      </dsp:txBody>
      <dsp:txXfrm>
        <a:off x="52460" y="1141149"/>
        <a:ext cx="7860911" cy="969720"/>
      </dsp:txXfrm>
    </dsp:sp>
    <dsp:sp modelId="{9E3F87FB-78B5-421E-A49D-142A0D1B545B}">
      <dsp:nvSpPr>
        <dsp:cNvPr id="0" name=""/>
        <dsp:cNvSpPr/>
      </dsp:nvSpPr>
      <dsp:spPr>
        <a:xfrm>
          <a:off x="0" y="217727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When you call find, the shell does not query the database immediately. </a:t>
          </a:r>
          <a:endParaRPr lang="en-US" sz="2000" kern="1200" dirty="0">
            <a:solidFill>
              <a:srgbClr val="000000"/>
            </a:solidFill>
          </a:endParaRPr>
        </a:p>
      </dsp:txBody>
      <dsp:txXfrm>
        <a:off x="52460" y="2229739"/>
        <a:ext cx="7860911" cy="969720"/>
      </dsp:txXfrm>
    </dsp:sp>
    <dsp:sp modelId="{AA8668AE-76C2-49F7-AB36-91AE8B3B397E}">
      <dsp:nvSpPr>
        <dsp:cNvPr id="0" name=""/>
        <dsp:cNvSpPr/>
      </dsp:nvSpPr>
      <dsp:spPr>
        <a:xfrm>
          <a:off x="0" y="326586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t waits until you actually start requesting results to send the query, which allows you to chain additional options onto a query before it is performed. </a:t>
          </a:r>
          <a:endParaRPr lang="en-US" sz="2000" kern="1200" dirty="0">
            <a:solidFill>
              <a:srgbClr val="000000"/>
            </a:solidFill>
          </a:endParaRPr>
        </a:p>
      </dsp:txBody>
      <dsp:txXfrm>
        <a:off x="52460" y="3318329"/>
        <a:ext cx="7860911" cy="969720"/>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A2CA45-13E9-4881-9342-2160FB32EA5D}">
      <dsp:nvSpPr>
        <dsp:cNvPr id="0" name=""/>
        <dsp:cNvSpPr/>
      </dsp:nvSpPr>
      <dsp:spPr>
        <a:xfrm>
          <a:off x="0" y="0"/>
          <a:ext cx="796583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lmost every method on a cursor object returns the cursor itself so that you can chain them in any order. </a:t>
          </a:r>
          <a:endParaRPr lang="en-US" sz="2000" kern="1200" dirty="0">
            <a:solidFill>
              <a:srgbClr val="000000"/>
            </a:solidFill>
          </a:endParaRPr>
        </a:p>
      </dsp:txBody>
      <dsp:txXfrm>
        <a:off x="59399" y="59399"/>
        <a:ext cx="7847033" cy="1098002"/>
      </dsp:txXfrm>
    </dsp:sp>
    <dsp:sp modelId="{3CF23DE7-FD70-4F2A-AF8C-11310912029D}">
      <dsp:nvSpPr>
        <dsp:cNvPr id="0" name=""/>
        <dsp:cNvSpPr/>
      </dsp:nvSpPr>
      <dsp:spPr>
        <a:xfrm>
          <a:off x="0" y="1154765"/>
          <a:ext cx="796583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For instance, all of the following are equivalent    </a:t>
          </a:r>
          <a:endParaRPr lang="en-US" sz="2000" kern="1200" dirty="0">
            <a:solidFill>
              <a:srgbClr val="000000"/>
            </a:solidFill>
          </a:endParaRPr>
        </a:p>
      </dsp:txBody>
      <dsp:txXfrm>
        <a:off x="59399" y="1214164"/>
        <a:ext cx="7847033" cy="1098002"/>
      </dsp:txXfrm>
    </dsp:sp>
    <dsp:sp modelId="{DD3040F6-CF30-40DB-89F3-984781355782}">
      <dsp:nvSpPr>
        <dsp:cNvPr id="0" name=""/>
        <dsp:cNvSpPr/>
      </dsp:nvSpPr>
      <dsp:spPr>
        <a:xfrm>
          <a:off x="0" y="2610755"/>
          <a:ext cx="7965831" cy="12445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91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 var mycursor = db.employees.find().sort({"firstname" : -1}).limit(10).skip(2);</a:t>
          </a:r>
        </a:p>
        <a:p>
          <a:pPr marL="228600" lvl="1" indent="-228600" algn="l" defTabSz="889000">
            <a:lnSpc>
              <a:spcPct val="90000"/>
            </a:lnSpc>
            <a:spcBef>
              <a:spcPct val="0"/>
            </a:spcBef>
            <a:spcAft>
              <a:spcPct val="20000"/>
            </a:spcAft>
            <a:buChar char="••"/>
          </a:pPr>
          <a:r>
            <a:rPr lang="en-US" sz="2000" kern="1200" dirty="0" smtClean="0">
              <a:solidFill>
                <a:srgbClr val="000000"/>
              </a:solidFill>
            </a:rPr>
            <a:t>while(mycursor .hasNext()){print(tojson(mycursor .next()));}</a:t>
          </a:r>
        </a:p>
      </dsp:txBody>
      <dsp:txXfrm>
        <a:off x="0" y="2610755"/>
        <a:ext cx="7965831" cy="1244587"/>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8001000"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Behind Find() : Cursor</a:t>
          </a:r>
          <a:endParaRPr lang="en-US" sz="2000" kern="1200" dirty="0">
            <a:solidFill>
              <a:srgbClr val="000000"/>
            </a:solidFill>
          </a:endParaRPr>
        </a:p>
      </dsp:txBody>
      <dsp:txXfrm>
        <a:off x="59399" y="59399"/>
        <a:ext cx="7882202" cy="1098002"/>
      </dsp:txXfrm>
    </dsp:sp>
    <dsp:sp modelId="{D35D2B51-CDB9-456F-AB69-03B1DA780EB7}">
      <dsp:nvSpPr>
        <dsp:cNvPr id="0" name=""/>
        <dsp:cNvSpPr/>
      </dsp:nvSpPr>
      <dsp:spPr>
        <a:xfrm>
          <a:off x="0" y="1361548"/>
          <a:ext cx="8001000" cy="12445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3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The database returns results from find using a </a:t>
          </a:r>
          <a:r>
            <a:rPr lang="en-US" altLang="zh-CN" sz="2000" i="1" kern="1200" dirty="0" smtClean="0">
              <a:solidFill>
                <a:srgbClr val="000000"/>
              </a:solidFill>
            </a:rPr>
            <a:t>cursor</a:t>
          </a:r>
          <a:r>
            <a:rPr lang="en-US" altLang="zh-CN" sz="2000" kern="1200" dirty="0" smtClean="0">
              <a:solidFill>
                <a:srgbClr val="000000"/>
              </a:solidFill>
            </a:rPr>
            <a:t>.</a:t>
          </a:r>
        </a:p>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The client-side implementations of cursors generally allow you to control a great deal about the eventual output of a query.</a:t>
          </a:r>
        </a:p>
      </dsp:txBody>
      <dsp:txXfrm>
        <a:off x="0" y="1361548"/>
        <a:ext cx="8001000" cy="1244587"/>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46029"/>
          <a:ext cx="7930662"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Behind Find() : Cursor (Contd.)</a:t>
          </a:r>
          <a:endParaRPr lang="en-US" sz="2000" kern="1200" dirty="0">
            <a:solidFill>
              <a:srgbClr val="000000"/>
            </a:solidFill>
          </a:endParaRPr>
        </a:p>
      </dsp:txBody>
      <dsp:txXfrm>
        <a:off x="59399" y="105428"/>
        <a:ext cx="7811864" cy="1098002"/>
      </dsp:txXfrm>
    </dsp:sp>
    <dsp:sp modelId="{D35D2B51-CDB9-456F-AB69-03B1DA780EB7}">
      <dsp:nvSpPr>
        <dsp:cNvPr id="0" name=""/>
        <dsp:cNvSpPr/>
      </dsp:nvSpPr>
      <dsp:spPr>
        <a:xfrm>
          <a:off x="0" y="1605727"/>
          <a:ext cx="7930662"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179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 Getting Consistent Results?</a:t>
          </a:r>
        </a:p>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 var cursor = db.employees.find({address.city:”Pune”}).snapshot(); </a:t>
          </a:r>
        </a:p>
      </dsp:txBody>
      <dsp:txXfrm>
        <a:off x="0" y="1605727"/>
        <a:ext cx="7930662" cy="1076400"/>
      </dsp:txXfrm>
    </dsp:sp>
    <dsp:sp modelId="{52D6B9C9-4581-47B0-8DC3-3E398C6486D7}">
      <dsp:nvSpPr>
        <dsp:cNvPr id="0" name=""/>
        <dsp:cNvSpPr/>
      </dsp:nvSpPr>
      <dsp:spPr>
        <a:xfrm>
          <a:off x="0" y="2682127"/>
          <a:ext cx="7930662"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A fairly common way of processing data is to pull it out of MongoDB, change it in some way, and then save it again:</a:t>
          </a:r>
        </a:p>
      </dsp:txBody>
      <dsp:txXfrm>
        <a:off x="59399" y="2741526"/>
        <a:ext cx="7811864" cy="1098002"/>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ADA340-3BD4-47D5-A696-83449005329B}">
      <dsp:nvSpPr>
        <dsp:cNvPr id="0" name=""/>
        <dsp:cNvSpPr/>
      </dsp:nvSpPr>
      <dsp:spPr>
        <a:xfrm>
          <a:off x="0" y="8766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Understand about Create a document </a:t>
          </a:r>
          <a:endParaRPr lang="en-US" sz="2100" kern="1200" dirty="0"/>
        </a:p>
      </dsp:txBody>
      <dsp:txXfrm>
        <a:off x="24588" y="112250"/>
        <a:ext cx="6046824" cy="454509"/>
      </dsp:txXfrm>
    </dsp:sp>
    <dsp:sp modelId="{8289AF67-C8DE-475C-A974-55A072D277AE}">
      <dsp:nvSpPr>
        <dsp:cNvPr id="0" name=""/>
        <dsp:cNvSpPr/>
      </dsp:nvSpPr>
      <dsp:spPr>
        <a:xfrm>
          <a:off x="0" y="65182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Insert, Update and delete a document</a:t>
          </a:r>
          <a:endParaRPr lang="en-US" sz="2100" kern="1200" dirty="0"/>
        </a:p>
      </dsp:txBody>
      <dsp:txXfrm>
        <a:off x="24588" y="676415"/>
        <a:ext cx="6046824" cy="454509"/>
      </dsp:txXfrm>
    </dsp:sp>
    <dsp:sp modelId="{50D04EC6-C381-4262-925B-EAF159FC30C2}">
      <dsp:nvSpPr>
        <dsp:cNvPr id="0" name=""/>
        <dsp:cNvSpPr/>
      </dsp:nvSpPr>
      <dsp:spPr>
        <a:xfrm>
          <a:off x="0" y="121599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Read a document using find()</a:t>
          </a:r>
          <a:endParaRPr lang="en-US" sz="2100" kern="1200" dirty="0"/>
        </a:p>
      </dsp:txBody>
      <dsp:txXfrm>
        <a:off x="24588" y="1240580"/>
        <a:ext cx="6046824" cy="454509"/>
      </dsp:txXfrm>
    </dsp:sp>
    <dsp:sp modelId="{6897A1E9-F16E-4889-AB52-D24B2C4CFB16}">
      <dsp:nvSpPr>
        <dsp:cNvPr id="0" name=""/>
        <dsp:cNvSpPr/>
      </dsp:nvSpPr>
      <dsp:spPr>
        <a:xfrm>
          <a:off x="0" y="178015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Types of Operators </a:t>
          </a:r>
          <a:endParaRPr lang="en-US" sz="2100" kern="1200" dirty="0"/>
        </a:p>
      </dsp:txBody>
      <dsp:txXfrm>
        <a:off x="24588" y="1804745"/>
        <a:ext cx="6046824" cy="454509"/>
      </dsp:txXfrm>
    </dsp:sp>
    <dsp:sp modelId="{9EB5342D-B238-4EEC-A0D8-4737260EB346}">
      <dsp:nvSpPr>
        <dsp:cNvPr id="0" name=""/>
        <dsp:cNvSpPr/>
      </dsp:nvSpPr>
      <dsp:spPr>
        <a:xfrm>
          <a:off x="0" y="234432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Comparison and logical Operators</a:t>
          </a:r>
          <a:endParaRPr lang="en-US" sz="2100" kern="1200" dirty="0"/>
        </a:p>
      </dsp:txBody>
      <dsp:txXfrm>
        <a:off x="24588" y="2368910"/>
        <a:ext cx="6046824" cy="454509"/>
      </dsp:txXfrm>
    </dsp:sp>
    <dsp:sp modelId="{41F9E263-468E-4745-A7F8-1FEA1929881D}">
      <dsp:nvSpPr>
        <dsp:cNvPr id="0" name=""/>
        <dsp:cNvSpPr/>
      </dsp:nvSpPr>
      <dsp:spPr>
        <a:xfrm>
          <a:off x="0" y="290848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Sort, limit and skip operators </a:t>
          </a:r>
          <a:endParaRPr lang="en-US" sz="2100" kern="1200" dirty="0"/>
        </a:p>
      </dsp:txBody>
      <dsp:txXfrm>
        <a:off x="24588" y="2933075"/>
        <a:ext cx="6046824" cy="454509"/>
      </dsp:txXfrm>
    </dsp:sp>
    <dsp:sp modelId="{80223ACB-357F-4B41-9D36-ACCA98D89392}">
      <dsp:nvSpPr>
        <dsp:cNvPr id="0" name=""/>
        <dsp:cNvSpPr/>
      </dsp:nvSpPr>
      <dsp:spPr>
        <a:xfrm>
          <a:off x="0" y="347265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Cursors </a:t>
          </a:r>
          <a:endParaRPr lang="en-US" sz="2100" kern="1200" dirty="0"/>
        </a:p>
      </dsp:txBody>
      <dsp:txXfrm>
        <a:off x="24588" y="3497240"/>
        <a:ext cx="6046824" cy="4545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0148B3-4970-4577-9043-E95CFCDB3D6A}">
      <dsp:nvSpPr>
        <dsp:cNvPr id="0" name=""/>
        <dsp:cNvSpPr/>
      </dsp:nvSpPr>
      <dsp:spPr>
        <a:xfrm>
          <a:off x="0" y="15504"/>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MongoDB’s </a:t>
          </a:r>
          <a:r>
            <a:rPr lang="en-US" sz="2000" b="1" kern="1200" dirty="0" smtClean="0">
              <a:solidFill>
                <a:srgbClr val="000000"/>
              </a:solidFill>
            </a:rPr>
            <a:t>remove()</a:t>
          </a:r>
          <a:r>
            <a:rPr lang="en-US" sz="2000" kern="1200" dirty="0" smtClean="0">
              <a:solidFill>
                <a:srgbClr val="000000"/>
              </a:solidFill>
            </a:rPr>
            <a:t> method is used to remove document from the collection. remove() method accepts two parameters. One is deletion criteria and second is justOne flag.</a:t>
          </a:r>
          <a:endParaRPr lang="en-US" sz="2000" kern="1200" dirty="0">
            <a:solidFill>
              <a:srgbClr val="000000"/>
            </a:solidFill>
          </a:endParaRPr>
        </a:p>
      </dsp:txBody>
      <dsp:txXfrm>
        <a:off x="53459" y="68963"/>
        <a:ext cx="8439610" cy="988202"/>
      </dsp:txXfrm>
    </dsp:sp>
    <dsp:sp modelId="{B9052F1E-CC25-4B7B-8DDA-50E3196D2BD9}">
      <dsp:nvSpPr>
        <dsp:cNvPr id="0" name=""/>
        <dsp:cNvSpPr/>
      </dsp:nvSpPr>
      <dsp:spPr>
        <a:xfrm>
          <a:off x="0" y="1148064"/>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Deletion criteria:</a:t>
          </a:r>
          <a:r>
            <a:rPr lang="en-US" sz="2000" kern="1200" dirty="0" smtClean="0">
              <a:solidFill>
                <a:srgbClr val="000000"/>
              </a:solidFill>
            </a:rPr>
            <a:t> (Optional) deletion criteria according to documents will be removed.</a:t>
          </a:r>
          <a:endParaRPr lang="en-US" sz="2000" kern="1200" dirty="0">
            <a:solidFill>
              <a:srgbClr val="000000"/>
            </a:solidFill>
          </a:endParaRPr>
        </a:p>
      </dsp:txBody>
      <dsp:txXfrm>
        <a:off x="53459" y="1201523"/>
        <a:ext cx="8439610" cy="988202"/>
      </dsp:txXfrm>
    </dsp:sp>
    <dsp:sp modelId="{7D7940C0-4AF3-443F-A931-E396C82CC06F}">
      <dsp:nvSpPr>
        <dsp:cNvPr id="0" name=""/>
        <dsp:cNvSpPr/>
      </dsp:nvSpPr>
      <dsp:spPr>
        <a:xfrm>
          <a:off x="0" y="2280625"/>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justOne:</a:t>
          </a:r>
          <a:r>
            <a:rPr lang="en-US" sz="2000" kern="1200" dirty="0" smtClean="0">
              <a:solidFill>
                <a:srgbClr val="000000"/>
              </a:solidFill>
            </a:rPr>
            <a:t> (Optional) if set to true or 1, then remove only one document. </a:t>
          </a:r>
        </a:p>
      </dsp:txBody>
      <dsp:txXfrm>
        <a:off x="53459" y="2334084"/>
        <a:ext cx="8439610" cy="988202"/>
      </dsp:txXfrm>
    </dsp:sp>
    <dsp:sp modelId="{7B788927-0461-4722-A0B7-37DCE15F862B}">
      <dsp:nvSpPr>
        <dsp:cNvPr id="0" name=""/>
        <dsp:cNvSpPr/>
      </dsp:nvSpPr>
      <dsp:spPr>
        <a:xfrm>
          <a:off x="0" y="3375745"/>
          <a:ext cx="8546528"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135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collection_name.remove(DELETION_CRITERIA)</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remove({firstname:"tanmaya"})</a:t>
          </a:r>
        </a:p>
      </dsp:txBody>
      <dsp:txXfrm>
        <a:off x="0" y="3375745"/>
        <a:ext cx="8546528" cy="6727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3591"/>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there are multiple records and you want to delete only first record, then set </a:t>
          </a:r>
          <a:r>
            <a:rPr lang="en-US" sz="2000" b="1" kern="1200" dirty="0" smtClean="0">
              <a:solidFill>
                <a:srgbClr val="000000"/>
              </a:solidFill>
            </a:rPr>
            <a:t>justOne</a:t>
          </a:r>
          <a:r>
            <a:rPr lang="en-US" sz="2000" kern="1200" dirty="0" smtClean="0">
              <a:solidFill>
                <a:srgbClr val="000000"/>
              </a:solidFill>
            </a:rPr>
            <a:t> parameter in </a:t>
          </a:r>
          <a:r>
            <a:rPr lang="en-US" sz="2000" b="1" kern="1200" dirty="0" smtClean="0">
              <a:solidFill>
                <a:srgbClr val="000000"/>
              </a:solidFill>
            </a:rPr>
            <a:t>remove()</a:t>
          </a:r>
          <a:r>
            <a:rPr lang="en-US" sz="2000" kern="1200" dirty="0" smtClean="0">
              <a:solidFill>
                <a:srgbClr val="000000"/>
              </a:solidFill>
            </a:rPr>
            <a:t> method</a:t>
          </a:r>
          <a:endParaRPr lang="en-US" sz="2000" kern="1200" dirty="0">
            <a:solidFill>
              <a:srgbClr val="000000"/>
            </a:solidFill>
          </a:endParaRPr>
        </a:p>
      </dsp:txBody>
      <dsp:txXfrm>
        <a:off x="46302" y="49893"/>
        <a:ext cx="7691519" cy="855905"/>
      </dsp:txXfrm>
    </dsp:sp>
    <dsp:sp modelId="{B087FF26-C659-4378-87FA-BD4D68B200FE}">
      <dsp:nvSpPr>
        <dsp:cNvPr id="0" name=""/>
        <dsp:cNvSpPr/>
      </dsp:nvSpPr>
      <dsp:spPr>
        <a:xfrm>
          <a:off x="0" y="964520"/>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collection_name.remove(deletion_criteria,1) </a:t>
          </a:r>
        </a:p>
      </dsp:txBody>
      <dsp:txXfrm>
        <a:off x="46302" y="1010822"/>
        <a:ext cx="7691519" cy="855905"/>
      </dsp:txXfrm>
    </dsp:sp>
    <dsp:sp modelId="{7612DCC8-E58E-490D-ABD5-9793BFA018A5}">
      <dsp:nvSpPr>
        <dsp:cNvPr id="0" name=""/>
        <dsp:cNvSpPr/>
      </dsp:nvSpPr>
      <dsp:spPr>
        <a:xfrm>
          <a:off x="0" y="1925448"/>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Remove All documents</a:t>
          </a:r>
        </a:p>
      </dsp:txBody>
      <dsp:txXfrm>
        <a:off x="46302" y="1971750"/>
        <a:ext cx="7691519" cy="855905"/>
      </dsp:txXfrm>
    </dsp:sp>
    <dsp:sp modelId="{6673E3D6-1562-4D38-BCAB-3F49F0BC541B}">
      <dsp:nvSpPr>
        <dsp:cNvPr id="0" name=""/>
        <dsp:cNvSpPr/>
      </dsp:nvSpPr>
      <dsp:spPr>
        <a:xfrm>
          <a:off x="0" y="2886377"/>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you don't specify deletion criteria, then mongodb will delete whole documents from the collection. </a:t>
          </a:r>
          <a:r>
            <a:rPr lang="en-US" sz="2000" b="1" kern="1200" dirty="0" smtClean="0">
              <a:solidFill>
                <a:srgbClr val="000000"/>
              </a:solidFill>
            </a:rPr>
            <a:t>This is equivalent of SQL's truncate command.</a:t>
          </a:r>
          <a:endParaRPr lang="en-US" sz="2000" kern="1200" dirty="0" smtClean="0">
            <a:solidFill>
              <a:srgbClr val="000000"/>
            </a:solidFill>
          </a:endParaRPr>
        </a:p>
      </dsp:txBody>
      <dsp:txXfrm>
        <a:off x="46302" y="2932679"/>
        <a:ext cx="7691519" cy="855905"/>
      </dsp:txXfrm>
    </dsp:sp>
    <dsp:sp modelId="{DA0F7DD1-DA90-4478-99A4-B4371C2267F9}">
      <dsp:nvSpPr>
        <dsp:cNvPr id="0" name=""/>
        <dsp:cNvSpPr/>
      </dsp:nvSpPr>
      <dsp:spPr>
        <a:xfrm>
          <a:off x="0" y="3834886"/>
          <a:ext cx="7784123" cy="589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remove() </a:t>
          </a:r>
        </a:p>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 </a:t>
          </a:r>
        </a:p>
      </dsp:txBody>
      <dsp:txXfrm>
        <a:off x="0" y="3834886"/>
        <a:ext cx="7784123" cy="58913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5F76FF-F42C-4D68-9845-87BDB179956C}">
      <dsp:nvSpPr>
        <dsp:cNvPr id="0" name=""/>
        <dsp:cNvSpPr/>
      </dsp:nvSpPr>
      <dsp:spPr>
        <a:xfrm>
          <a:off x="0" y="2457"/>
          <a:ext cx="7134907" cy="248456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s </a:t>
          </a:r>
          <a:r>
            <a:rPr lang="en-US" sz="2000" b="1" kern="1200" dirty="0" smtClean="0"/>
            <a:t>update()</a:t>
          </a:r>
          <a:r>
            <a:rPr lang="en-US" sz="2000" kern="1200" dirty="0" smtClean="0"/>
            <a:t> and </a:t>
          </a:r>
          <a:r>
            <a:rPr lang="en-US" sz="2000" b="1" kern="1200" dirty="0" smtClean="0"/>
            <a:t>save()</a:t>
          </a:r>
          <a:r>
            <a:rPr lang="en-US" sz="2000" kern="1200" dirty="0" smtClean="0"/>
            <a:t> methods are used to update document into a collection. The update() method update values in the existing document while the save() method replaces the existing document with the document passed in save() method.</a:t>
          </a:r>
          <a:endParaRPr lang="en-US" sz="2000" kern="1200" dirty="0"/>
        </a:p>
      </dsp:txBody>
      <dsp:txXfrm>
        <a:off x="121286" y="123743"/>
        <a:ext cx="6892335" cy="2241990"/>
      </dsp:txXfrm>
    </dsp:sp>
    <dsp:sp modelId="{1FDB5A76-AEAE-41A3-9640-8127DA8C590E}">
      <dsp:nvSpPr>
        <dsp:cNvPr id="0" name=""/>
        <dsp:cNvSpPr/>
      </dsp:nvSpPr>
      <dsp:spPr>
        <a:xfrm>
          <a:off x="0" y="2491545"/>
          <a:ext cx="7134907" cy="61540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 update() method updates values in the existing document.</a:t>
          </a:r>
          <a:endParaRPr lang="en-US" sz="2000" kern="1200" dirty="0"/>
        </a:p>
      </dsp:txBody>
      <dsp:txXfrm>
        <a:off x="30042" y="2521587"/>
        <a:ext cx="7074823" cy="555321"/>
      </dsp:txXfrm>
    </dsp:sp>
    <dsp:sp modelId="{A61DBAE9-5AF2-4247-98D8-CE798B428171}">
      <dsp:nvSpPr>
        <dsp:cNvPr id="0" name=""/>
        <dsp:cNvSpPr/>
      </dsp:nvSpPr>
      <dsp:spPr>
        <a:xfrm>
          <a:off x="0" y="3111476"/>
          <a:ext cx="7134907" cy="217551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xample: &gt;db.employees.update({firstname:"vaishali"},{firstname:"vaishali",lastname:"shrivastava",age:30})</a:t>
          </a:r>
          <a:endParaRPr lang="en-US" sz="2000" kern="1200" dirty="0"/>
        </a:p>
      </dsp:txBody>
      <dsp:txXfrm>
        <a:off x="106200" y="3217676"/>
        <a:ext cx="6922507" cy="1963115"/>
      </dsp:txXfrm>
    </dsp:sp>
    <dsp:sp modelId="{BF918D97-BE01-4D11-A6D4-4D6197EFC19D}">
      <dsp:nvSpPr>
        <dsp:cNvPr id="0" name=""/>
        <dsp:cNvSpPr/>
      </dsp:nvSpPr>
      <dsp:spPr>
        <a:xfrm>
          <a:off x="0" y="5286991"/>
          <a:ext cx="7134907" cy="2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6533" tIns="25400" rIns="142240" bIns="25400" numCol="1" spcCol="1270" anchor="t" anchorCtr="0">
          <a:noAutofit/>
        </a:bodyPr>
        <a:lstStyle/>
        <a:p>
          <a:pPr marL="228600" lvl="1" indent="-228600" algn="l" defTabSz="889000">
            <a:lnSpc>
              <a:spcPct val="90000"/>
            </a:lnSpc>
            <a:spcBef>
              <a:spcPct val="0"/>
            </a:spcBef>
            <a:spcAft>
              <a:spcPct val="20000"/>
            </a:spcAft>
            <a:buChar char="••"/>
          </a:pPr>
          <a:endParaRPr lang="en-US" sz="2000" kern="1200" dirty="0"/>
        </a:p>
      </dsp:txBody>
      <dsp:txXfrm>
        <a:off x="0" y="5286991"/>
        <a:ext cx="7134907" cy="260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086385-7DED-4BC2-B1B8-01FBC43A899A}">
      <dsp:nvSpPr>
        <dsp:cNvPr id="0" name=""/>
        <dsp:cNvSpPr/>
      </dsp:nvSpPr>
      <dsp:spPr>
        <a:xfrm>
          <a:off x="0" y="12630"/>
          <a:ext cx="8164112" cy="10483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Update (document)</a:t>
          </a:r>
          <a:r>
            <a:rPr lang="en-US" sz="1800" kern="1200" dirty="0" smtClean="0">
              <a:solidFill>
                <a:srgbClr val="000000"/>
              </a:solidFill>
            </a:rPr>
            <a:t> – Specifies the modifications to apply.</a:t>
          </a:r>
          <a:endParaRPr lang="en-US" sz="1800" kern="1200" dirty="0">
            <a:solidFill>
              <a:srgbClr val="000000"/>
            </a:solidFill>
          </a:endParaRPr>
        </a:p>
      </dsp:txBody>
      <dsp:txXfrm>
        <a:off x="51175" y="63805"/>
        <a:ext cx="8061762" cy="945970"/>
      </dsp:txXfrm>
    </dsp:sp>
    <dsp:sp modelId="{34E5D70E-E305-40A9-8B49-691F7F18E504}">
      <dsp:nvSpPr>
        <dsp:cNvPr id="0" name=""/>
        <dsp:cNvSpPr/>
      </dsp:nvSpPr>
      <dsp:spPr>
        <a:xfrm>
          <a:off x="0" y="950639"/>
          <a:ext cx="8164112" cy="4812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If</a:t>
          </a:r>
          <a:r>
            <a:rPr lang="en-US" sz="1800" kern="1200" dirty="0" smtClean="0">
              <a:solidFill>
                <a:srgbClr val="000000"/>
              </a:solidFill>
            </a:rPr>
            <a:t> the </a:t>
          </a:r>
          <a:r>
            <a:rPr lang="en-US" sz="1800" b="1" kern="1200" dirty="0" smtClean="0">
              <a:solidFill>
                <a:srgbClr val="000000"/>
              </a:solidFill>
            </a:rPr>
            <a:t>update</a:t>
          </a:r>
          <a:r>
            <a:rPr lang="en-US" sz="1800" kern="1200" dirty="0" smtClean="0">
              <a:solidFill>
                <a:srgbClr val="000000"/>
              </a:solidFill>
            </a:rPr>
            <a:t> parameter contains any update operators expressions such as the $set operator expression, then:</a:t>
          </a:r>
          <a:endParaRPr lang="en-US" sz="1800" kern="1200" dirty="0">
            <a:solidFill>
              <a:srgbClr val="000000"/>
            </a:solidFill>
          </a:endParaRPr>
        </a:p>
      </dsp:txBody>
      <dsp:txXfrm>
        <a:off x="23494" y="974133"/>
        <a:ext cx="8117124" cy="434285"/>
      </dsp:txXfrm>
    </dsp:sp>
    <dsp:sp modelId="{8B7495E1-C04A-44F1-96B1-C8BCCC2A1219}">
      <dsp:nvSpPr>
        <dsp:cNvPr id="0" name=""/>
        <dsp:cNvSpPr/>
      </dsp:nvSpPr>
      <dsp:spPr>
        <a:xfrm>
          <a:off x="0" y="1617699"/>
          <a:ext cx="8164112" cy="111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9211"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rgbClr val="000000"/>
              </a:solidFill>
            </a:rPr>
            <a:t>The update parameter must contain only update operators expressions.</a:t>
          </a:r>
          <a:endParaRPr lang="en-US" sz="1800" kern="1200" dirty="0">
            <a:solidFill>
              <a:srgbClr val="000000"/>
            </a:solidFill>
          </a:endParaRPr>
        </a:p>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updates only the corresponding fields in the document.</a:t>
          </a:r>
        </a:p>
      </dsp:txBody>
      <dsp:txXfrm>
        <a:off x="0" y="1617699"/>
        <a:ext cx="8164112" cy="1116476"/>
      </dsp:txXfrm>
    </dsp:sp>
    <dsp:sp modelId="{1B244BBB-3358-4E44-A587-1D49457C8712}">
      <dsp:nvSpPr>
        <dsp:cNvPr id="0" name=""/>
        <dsp:cNvSpPr/>
      </dsp:nvSpPr>
      <dsp:spPr>
        <a:xfrm>
          <a:off x="0" y="2819980"/>
          <a:ext cx="8164112" cy="64273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If</a:t>
          </a:r>
          <a:r>
            <a:rPr lang="en-US" sz="1800" kern="1200" dirty="0" smtClean="0">
              <a:solidFill>
                <a:srgbClr val="000000"/>
              </a:solidFill>
            </a:rPr>
            <a:t> the </a:t>
          </a:r>
          <a:r>
            <a:rPr lang="en-US" sz="1800" b="1" kern="1200" dirty="0" smtClean="0">
              <a:solidFill>
                <a:srgbClr val="000000"/>
              </a:solidFill>
            </a:rPr>
            <a:t>update</a:t>
          </a:r>
          <a:r>
            <a:rPr lang="en-US" sz="1800" kern="1200" dirty="0" smtClean="0">
              <a:solidFill>
                <a:srgbClr val="000000"/>
              </a:solidFill>
            </a:rPr>
            <a:t> parameter consists only of field: value expressions, then:</a:t>
          </a:r>
          <a:endParaRPr lang="en-US" sz="1800" kern="1200" dirty="0">
            <a:solidFill>
              <a:srgbClr val="000000"/>
            </a:solidFill>
          </a:endParaRPr>
        </a:p>
      </dsp:txBody>
      <dsp:txXfrm>
        <a:off x="31376" y="2851356"/>
        <a:ext cx="8101360" cy="579983"/>
      </dsp:txXfrm>
    </dsp:sp>
    <dsp:sp modelId="{612165A9-87B1-41BA-9B63-F9C94F8B2387}">
      <dsp:nvSpPr>
        <dsp:cNvPr id="0" name=""/>
        <dsp:cNvSpPr/>
      </dsp:nvSpPr>
      <dsp:spPr>
        <a:xfrm>
          <a:off x="0" y="3462716"/>
          <a:ext cx="8164112" cy="136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9211"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replaces the document with the updates document. If the updates document is missing the </a:t>
          </a:r>
          <a:r>
            <a:rPr lang="en-US" sz="1800" b="1" kern="1200" dirty="0" smtClean="0">
              <a:solidFill>
                <a:srgbClr val="000000"/>
              </a:solidFill>
            </a:rPr>
            <a:t>_id field</a:t>
          </a:r>
          <a:r>
            <a:rPr lang="en-US" sz="1800" kern="1200" dirty="0" smtClean="0">
              <a:solidFill>
                <a:srgbClr val="000000"/>
              </a:solidFill>
            </a:rPr>
            <a:t>, MongoDB will add the _id field and assign to it a unique object Id .</a:t>
          </a:r>
          <a:endParaRPr lang="en-US" sz="1800" kern="1200" dirty="0">
            <a:solidFill>
              <a:srgbClr val="000000"/>
            </a:solidFill>
          </a:endParaRPr>
        </a:p>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updates cannot update multiple documents.</a:t>
          </a:r>
        </a:p>
      </dsp:txBody>
      <dsp:txXfrm>
        <a:off x="0" y="3462716"/>
        <a:ext cx="8164112" cy="1362060"/>
      </dsp:txXfrm>
    </dsp:sp>
    <dsp:sp modelId="{79C5127E-018D-4DEE-85DE-73DD6122D235}">
      <dsp:nvSpPr>
        <dsp:cNvPr id="0" name=""/>
        <dsp:cNvSpPr/>
      </dsp:nvSpPr>
      <dsp:spPr>
        <a:xfrm>
          <a:off x="0" y="4824776"/>
          <a:ext cx="8164112" cy="10483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Options</a:t>
          </a:r>
          <a:r>
            <a:rPr lang="en-US" sz="1800" kern="1200" dirty="0" smtClean="0">
              <a:solidFill>
                <a:srgbClr val="000000"/>
              </a:solidFill>
            </a:rPr>
            <a:t> : (optional) Specifies whether to perform an upsert and/or a multiple update. Use the options parameter instead of the individual upsert and multi parameters.</a:t>
          </a:r>
          <a:endParaRPr lang="en-US" sz="1800" kern="1200" dirty="0">
            <a:solidFill>
              <a:srgbClr val="000000"/>
            </a:solidFill>
          </a:endParaRPr>
        </a:p>
      </dsp:txBody>
      <dsp:txXfrm>
        <a:off x="51175" y="4875951"/>
        <a:ext cx="8061762" cy="94597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E3E766-166D-4623-9D08-884F068D2D0F}">
      <dsp:nvSpPr>
        <dsp:cNvPr id="0" name=""/>
        <dsp:cNvSpPr/>
      </dsp:nvSpPr>
      <dsp:spPr>
        <a:xfrm>
          <a:off x="0" y="918920"/>
          <a:ext cx="7544320" cy="79404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o update multiple you need to set a parameter 'multi' to true:</a:t>
          </a:r>
          <a:endParaRPr lang="en-US" sz="2000" kern="1200" dirty="0"/>
        </a:p>
      </dsp:txBody>
      <dsp:txXfrm>
        <a:off x="38762" y="957682"/>
        <a:ext cx="7466796" cy="716522"/>
      </dsp:txXfrm>
    </dsp:sp>
    <dsp:sp modelId="{7D9E5DBC-532C-4B39-A93C-588B83BBB31C}">
      <dsp:nvSpPr>
        <dsp:cNvPr id="0" name=""/>
        <dsp:cNvSpPr/>
      </dsp:nvSpPr>
      <dsp:spPr>
        <a:xfrm>
          <a:off x="0" y="1764421"/>
          <a:ext cx="7544320" cy="123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9532" tIns="25400" rIns="142240" bIns="25400" numCol="1" spcCol="1270" anchor="t" anchorCtr="0">
          <a:noAutofit/>
        </a:bodyPr>
        <a:lstStyle/>
        <a:p>
          <a:pPr marL="228600" lvl="1" indent="-228600" algn="l" defTabSz="889000">
            <a:lnSpc>
              <a:spcPct val="90000"/>
            </a:lnSpc>
            <a:spcBef>
              <a:spcPct val="0"/>
            </a:spcBef>
            <a:spcAft>
              <a:spcPct val="20000"/>
            </a:spcAft>
            <a:buChar char="••"/>
          </a:pPr>
          <a:endParaRPr lang="en-US" sz="2000" kern="1200" dirty="0"/>
        </a:p>
        <a:p>
          <a:pPr marL="228600" lvl="1" indent="-228600" algn="l" defTabSz="889000">
            <a:lnSpc>
              <a:spcPct val="90000"/>
            </a:lnSpc>
            <a:spcBef>
              <a:spcPct val="0"/>
            </a:spcBef>
            <a:spcAft>
              <a:spcPct val="20000"/>
            </a:spcAft>
            <a:buChar char="••"/>
          </a:pPr>
          <a:r>
            <a:rPr lang="en-US" sz="2000" kern="1200" dirty="0" smtClean="0"/>
            <a:t> &gt;db.employees.update({firstname:"shilpa"},{$set:{age:66}},{multi:true})</a:t>
          </a:r>
          <a:endParaRPr lang="en-US" sz="2000" kern="1200" dirty="0"/>
        </a:p>
      </dsp:txBody>
      <dsp:txXfrm>
        <a:off x="0" y="1764421"/>
        <a:ext cx="7544320" cy="123957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2DD461-17F9-4946-9F8A-492816BDD735}">
      <dsp:nvSpPr>
        <dsp:cNvPr id="0" name=""/>
        <dsp:cNvSpPr/>
      </dsp:nvSpPr>
      <dsp:spPr>
        <a:xfrm>
          <a:off x="0" y="2173"/>
          <a:ext cx="8076795" cy="19037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Upsert: </a:t>
          </a:r>
          <a:r>
            <a:rPr lang="en-US" sz="1800" kern="1200" dirty="0" smtClean="0"/>
            <a:t>A kind of update that either updates the first document matched in the provided query selector or, if no document matches, inserts a new document having the fields implied by the query selector and the update operation. The default value is false. When true, the update() method will update an existing document that matches the query selection criteria </a:t>
          </a:r>
          <a:r>
            <a:rPr lang="en-US" sz="1800" b="1" kern="1200" dirty="0" smtClean="0"/>
            <a:t>or</a:t>
          </a:r>
          <a:r>
            <a:rPr lang="en-US" sz="1800" kern="1200" dirty="0" smtClean="0"/>
            <a:t> if no document matches the criteria, insert a new document with the fields and values of the update parameter and if the update included only update operators, the</a:t>
          </a:r>
          <a:r>
            <a:rPr lang="en-US" sz="1800" b="1" kern="1200" dirty="0" smtClean="0"/>
            <a:t> </a:t>
          </a:r>
          <a:r>
            <a:rPr lang="en-US" sz="1800" kern="1200" dirty="0" smtClean="0"/>
            <a:t>query parameter as well.</a:t>
          </a:r>
          <a:endParaRPr lang="en-US" sz="1800" kern="1200" dirty="0"/>
        </a:p>
      </dsp:txBody>
      <dsp:txXfrm>
        <a:off x="92931" y="95104"/>
        <a:ext cx="7890933" cy="1717847"/>
      </dsp:txXfrm>
    </dsp:sp>
    <dsp:sp modelId="{F7053AFC-38F5-4892-842A-516F69F09814}">
      <dsp:nvSpPr>
        <dsp:cNvPr id="0" name=""/>
        <dsp:cNvSpPr/>
      </dsp:nvSpPr>
      <dsp:spPr>
        <a:xfrm>
          <a:off x="0" y="19124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ulti</a:t>
          </a:r>
          <a:r>
            <a:rPr lang="en-US" sz="1800" kern="1200" dirty="0" smtClean="0"/>
            <a:t> (optional): Specifies whether to update multiple documents that meet the query criteria.</a:t>
          </a:r>
          <a:endParaRPr lang="en-US" sz="1800" kern="1200" dirty="0"/>
        </a:p>
      </dsp:txBody>
      <dsp:txXfrm>
        <a:off x="42546" y="1954975"/>
        <a:ext cx="7991703" cy="786461"/>
      </dsp:txXfrm>
    </dsp:sp>
    <dsp:sp modelId="{FEBCDEFB-B9F1-4FF6-923F-37378D9C5F69}">
      <dsp:nvSpPr>
        <dsp:cNvPr id="0" name=""/>
        <dsp:cNvSpPr/>
      </dsp:nvSpPr>
      <dsp:spPr>
        <a:xfrm>
          <a:off x="0" y="27905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When not specified, the default value is false and the update() method updates a single document that meet the query criteria.</a:t>
          </a:r>
          <a:endParaRPr lang="en-US" sz="1800" kern="1200" dirty="0"/>
        </a:p>
      </dsp:txBody>
      <dsp:txXfrm>
        <a:off x="42546" y="2833075"/>
        <a:ext cx="7991703" cy="786461"/>
      </dsp:txXfrm>
    </dsp:sp>
    <dsp:sp modelId="{FC73E39F-1D0E-46E7-A7F6-003AC7CB910E}">
      <dsp:nvSpPr>
        <dsp:cNvPr id="0" name=""/>
        <dsp:cNvSpPr/>
      </dsp:nvSpPr>
      <dsp:spPr>
        <a:xfrm>
          <a:off x="0" y="36686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When true, the update() method updates all documents that meet the query criteria.</a:t>
          </a:r>
          <a:endParaRPr lang="en-US" sz="1800" kern="1200" dirty="0"/>
        </a:p>
      </dsp:txBody>
      <dsp:txXfrm>
        <a:off x="42546" y="3711175"/>
        <a:ext cx="7991703" cy="78646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ongodb.com/manual/reference/operator/update/positional/#up._S_"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docs.mongodb.com/manual/reference/operator/update/positional-all/#up._S_[]"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ongodb.com/manual/reference/operator/query/all/index.html#op._S_all"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ongodb.com/manual/reference/operator/query/and/#op._S_and"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docs.mongodb.org/manual/reference/method/db.collection.sav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ongodb.com/manual/reference/method/db.collection.findAndModify/index.html#db.collection.findAndModify"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docs.mongodb.com/manual/reference/command/findAndModify/#dbcmd.findAndModify"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ongodb.com/v3.4/reference/method/cursor.snapshot/#cursor.snapshot" TargetMode="External"/><Relationship Id="rId2" Type="http://schemas.openxmlformats.org/officeDocument/2006/relationships/slide" Target="../slides/slide43.xml"/><Relationship Id="rId1" Type="http://schemas.openxmlformats.org/officeDocument/2006/relationships/notesMaster" Target="../notesMasters/notesMaster1.xml"/><Relationship Id="rId5" Type="http://schemas.openxmlformats.org/officeDocument/2006/relationships/hyperlink" Target="https://docs.mongodb.com/v3.4/reference/method/cursor.hint/#cursor.hint" TargetMode="External"/><Relationship Id="rId4" Type="http://schemas.openxmlformats.org/officeDocument/2006/relationships/hyperlink" Target="https://docs.mongodb.com/v3.4/reference/method/cursor.sort/#cursor.sort"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docs.mongodb.org/manual/reference/method/db.collection.save/"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881061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257991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3849929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792818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209699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gt;db.employees.update({firstname:"anjulata"},{$inc:{salary:500}})-                   Update Salary Of Anjulata by 500</a:t>
            </a:r>
          </a:p>
          <a:p>
            <a:endParaRPr lang="en-US" dirty="0" smtClean="0"/>
          </a:p>
          <a:p>
            <a:endParaRPr lang="en-US" dirty="0" smtClean="0"/>
          </a:p>
          <a:p>
            <a:r>
              <a:rPr lang="en-US" dirty="0" smtClean="0"/>
              <a:t>&gt; db.employees.update({firstname:"vaishali"},{$set:{salary:6000}})  -             Update employee  and add only salary in existing recor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034324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Ø"/>
            </a:pPr>
            <a:r>
              <a:rPr lang="en-US" dirty="0" smtClean="0"/>
              <a:t>db.employees.update({firstname:"vrushali"},{$unset:{lastname:1}})   -    Use Unset Operator to remove the field</a:t>
            </a:r>
          </a:p>
          <a:p>
            <a:pPr marL="171450" indent="-171450">
              <a:buFont typeface="Wingdings" panose="05000000000000000000" pitchFamily="2" charset="2"/>
              <a:buChar char="Ø"/>
            </a:pPr>
            <a:r>
              <a:rPr lang="en-US" dirty="0" smtClean="0"/>
              <a:t>&gt; db.employees.update({firstname:"anjulata"},{"$push":{"foodILike":["pizza","idali"]}})  -</a:t>
            </a:r>
            <a:r>
              <a:rPr lang="en-US" baseline="0" dirty="0" smtClean="0"/>
              <a:t>  Update existing record with name "anjulata" with an array of favourate foo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71651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db.employees.update({firstname:"anjulata"},{$addToSet:{foodILike:"idali"}})  ---- If elements are already</a:t>
            </a:r>
            <a:r>
              <a:rPr lang="en-US" baseline="0" dirty="0" smtClean="0"/>
              <a:t> existing  $addToSet  does nothing and do not add. But if it is  not existing  then it is adde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956382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smtClean="0"/>
          </a:p>
          <a:p>
            <a:r>
              <a:rPr lang="en-US" dirty="0" smtClean="0"/>
              <a:t>The all positional operator $[] indicates that the update operator should modify all elements in the specified array field</a:t>
            </a:r>
          </a:p>
          <a:p>
            <a:r>
              <a:rPr lang="en-US" dirty="0" smtClean="0"/>
              <a:t>The $[] operator can be used for queries which traverse more than one array and nested arrays.</a:t>
            </a:r>
          </a:p>
          <a:p>
            <a:r>
              <a:rPr lang="en-US" dirty="0" smtClean="0">
                <a:hlinkClick r:id="rId3" tooltip="$"/>
              </a:rPr>
              <a:t>$</a:t>
            </a:r>
            <a:r>
              <a:rPr lang="en-US" dirty="0" smtClean="0"/>
              <a:t>Acts as a placeholder to update the first element that matches the query condition.</a:t>
            </a:r>
          </a:p>
          <a:p>
            <a:r>
              <a:rPr lang="en-US" dirty="0" smtClean="0">
                <a:hlinkClick r:id="rId4" tooltip="$[]"/>
              </a:rPr>
              <a:t>$[]</a:t>
            </a:r>
            <a:r>
              <a:rPr lang="en-US" dirty="0" smtClean="0"/>
              <a:t>Acts as a placeholder to update all elements in an array for the documents that match the query condition.</a:t>
            </a:r>
          </a:p>
          <a:p>
            <a:r>
              <a:rPr lang="en-US" dirty="0" smtClean="0"/>
              <a:t>The positional </a:t>
            </a:r>
            <a:r>
              <a:rPr lang="en-US" dirty="0" smtClean="0">
                <a:hlinkClick r:id="rId3" tooltip="$"/>
              </a:rPr>
              <a:t>$</a:t>
            </a:r>
            <a:r>
              <a:rPr lang="en-US" dirty="0" smtClean="0"/>
              <a:t> operator has the form:  { "&lt;array&gt;.$" : value } </a:t>
            </a:r>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994774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the employees having matching salary   as 2000  or 32000</a:t>
            </a:r>
          </a:p>
          <a:p>
            <a:endParaRPr lang="en-US" dirty="0" smtClean="0"/>
          </a:p>
          <a:p>
            <a:r>
              <a:rPr lang="en-US" dirty="0" smtClean="0"/>
              <a:t>-&gt;db.employees.find( { salary: { $in: [ 2000, 30000 ] } } )</a:t>
            </a:r>
          </a:p>
          <a:p>
            <a:r>
              <a:rPr lang="en-US" dirty="0" smtClean="0"/>
              <a:t>Note:-This is as good as IN operator Of oracle</a:t>
            </a:r>
          </a:p>
          <a:p>
            <a:r>
              <a:rPr lang="en-US" dirty="0" smtClean="0"/>
              <a:t>---------------------------------------------------------</a:t>
            </a:r>
          </a:p>
          <a:p>
            <a:r>
              <a:rPr lang="en-US" dirty="0" smtClean="0"/>
              <a:t>Find record having age &lt;34 Or salary greater than 5000</a:t>
            </a:r>
          </a:p>
          <a:p>
            <a:endParaRPr lang="en-US" dirty="0" smtClean="0"/>
          </a:p>
          <a:p>
            <a:r>
              <a:rPr lang="en-US" dirty="0" smtClean="0"/>
              <a:t>&gt;db.employees.find( { $or: [ { age:{ $lte: 34 } }, { salary:{$gt:50000}}]})</a:t>
            </a:r>
          </a:p>
          <a:p>
            <a:endParaRPr lang="en-US" dirty="0" smtClean="0"/>
          </a:p>
          <a:p>
            <a:r>
              <a:rPr lang="en-US" dirty="0" smtClean="0"/>
              <a:t>OR</a:t>
            </a:r>
          </a:p>
          <a:p>
            <a:endParaRPr lang="en-US" dirty="0" smtClean="0"/>
          </a:p>
          <a:p>
            <a:r>
              <a:rPr lang="en-US" dirty="0" smtClean="0"/>
              <a:t>Find record having age &lt;34 and salary greater than 5000</a:t>
            </a:r>
          </a:p>
          <a:p>
            <a:endParaRPr lang="en-US" dirty="0" smtClean="0"/>
          </a:p>
          <a:p>
            <a:r>
              <a:rPr lang="en-US" dirty="0" smtClean="0"/>
              <a:t>&gt;db.employees.find( { $and: [ { age:{ $lte: 34 } }, { salary:{$gt:50000}}]})</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7655230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The </a:t>
            </a:r>
            <a:r>
              <a:rPr lang="en-US" dirty="0" smtClean="0">
                <a:hlinkClick r:id="rId3" tooltip="$all"/>
              </a:rPr>
              <a:t>$all</a:t>
            </a:r>
            <a:r>
              <a:rPr lang="en-US" dirty="0" smtClean="0"/>
              <a:t> is equivalent to an </a:t>
            </a:r>
            <a:r>
              <a:rPr lang="en-US" dirty="0" smtClean="0">
                <a:hlinkClick r:id="rId4" tooltip="$and"/>
              </a:rPr>
              <a:t>$and</a:t>
            </a:r>
            <a:r>
              <a:rPr lang="en-US" dirty="0" smtClean="0"/>
              <a:t> operation of the specified values; i.e. the following statement:</a:t>
            </a:r>
          </a:p>
          <a:p>
            <a:endParaRPr lang="en-US" dirty="0" smtClean="0"/>
          </a:p>
          <a:p>
            <a:r>
              <a:rPr lang="en-US" dirty="0" smtClean="0"/>
              <a:t>Find all employee having given all contacts-</a:t>
            </a:r>
          </a:p>
          <a:p>
            <a:r>
              <a:rPr lang="en-US" dirty="0" smtClean="0"/>
              <a:t>		&gt; db.employees.find({contacts:{$all : ["7786666666","044-878888"]}}).count()</a:t>
            </a:r>
          </a:p>
          <a:p>
            <a:endParaRPr lang="en-US" dirty="0" smtClean="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153547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1139783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all male  employees staying in "Pune"</a:t>
            </a:r>
          </a:p>
          <a:p>
            <a:r>
              <a:rPr lang="en-US" dirty="0" smtClean="0"/>
              <a:t>		&gt; db.employees.find({"address.city":"Pune","gender":"Male"}).pretty()</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9139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6009371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OR show all employee details without firstname,lastname,address field</a:t>
            </a:r>
          </a:p>
          <a:p>
            <a:r>
              <a:rPr lang="en-US" dirty="0" smtClean="0"/>
              <a:t>	&gt;db.employees.find({},{"firstname":0,"lastname":0,"address":0}).pretty()</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1536905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dirty="0" smtClean="0"/>
              <a:t>Find firstname  lastname and age for those employee having age greater than 50 with first 5 record&gt; db.employees.find({age:{$gt:50}},{firstname:1,lastname:1,age:1}).limit(5).pret</a:t>
            </a:r>
          </a:p>
          <a:p>
            <a:r>
              <a:rPr lang="en-US" dirty="0" smtClean="0"/>
              <a:t>ty()</a:t>
            </a:r>
          </a:p>
          <a:p>
            <a:r>
              <a:rPr lang="en-US" dirty="0" smtClean="0"/>
              <a:t>{</a:t>
            </a:r>
          </a:p>
          <a:p>
            <a:r>
              <a:rPr lang="en-US" dirty="0" smtClean="0"/>
              <a:t>        "_id" : ObjectId("5ae7ee6465cef006130f1abb"),</a:t>
            </a:r>
          </a:p>
          <a:p>
            <a:r>
              <a:rPr lang="en-US" dirty="0" smtClean="0"/>
              <a:t>        "firstname" : "shilpa",</a:t>
            </a:r>
          </a:p>
          <a:p>
            <a:r>
              <a:rPr lang="en-US" dirty="0" smtClean="0"/>
              <a:t>        "lastname" : "bhosale",</a:t>
            </a:r>
          </a:p>
          <a:p>
            <a:r>
              <a:rPr lang="en-US" dirty="0" smtClean="0"/>
              <a:t>        "age" : 55</a:t>
            </a:r>
          </a:p>
          <a:p>
            <a:r>
              <a:rPr lang="en-US" dirty="0" smtClean="0"/>
              <a:t>}</a:t>
            </a:r>
          </a:p>
          <a:p>
            <a:r>
              <a:rPr lang="en-US" dirty="0" smtClean="0"/>
              <a:t>{</a:t>
            </a:r>
          </a:p>
          <a:p>
            <a:r>
              <a:rPr lang="en-US" dirty="0" smtClean="0"/>
              <a:t>        "_id" : ObjectId("5ae8862d65cef006130f1abe"),</a:t>
            </a:r>
          </a:p>
          <a:p>
            <a:r>
              <a:rPr lang="en-US" dirty="0" smtClean="0"/>
              <a:t>        "firstname" : "shilpa",</a:t>
            </a:r>
          </a:p>
          <a:p>
            <a:r>
              <a:rPr lang="en-US" dirty="0" smtClean="0"/>
              <a:t>        "lastname" : "sharma",</a:t>
            </a:r>
          </a:p>
          <a:p>
            <a:r>
              <a:rPr lang="en-US" dirty="0" smtClean="0"/>
              <a:t>        "age" : 55</a:t>
            </a:r>
          </a:p>
          <a:p>
            <a:r>
              <a:rPr lang="en-US" dirty="0" smtClean="0"/>
              <a:t>}</a:t>
            </a:r>
          </a:p>
          <a:p>
            <a:r>
              <a:rPr lang="en-US" dirty="0" smtClean="0"/>
              <a:t>{</a:t>
            </a:r>
          </a:p>
          <a:p>
            <a:r>
              <a:rPr lang="en-US" dirty="0" smtClean="0"/>
              <a:t>        "_id" : ObjectId("5aeb01bab190985244cff581"),</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r>
              <a:rPr lang="en-US" dirty="0" smtClean="0"/>
              <a:t>        "_id" : ObjectId("5aeb01c5b190985244cff584"),</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gt;</a:t>
            </a:r>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6982909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employees between age of 20 and 60-      db.employees.find( {age: {$in:[20,60]}} ).pretty()</a:t>
            </a:r>
          </a:p>
          <a:p>
            <a:endParaRPr lang="en-US" dirty="0" smtClean="0"/>
          </a:p>
          <a:p>
            <a:pPr lvl="0"/>
            <a:r>
              <a:rPr lang="en-US" sz="1000" b="1" dirty="0" smtClean="0">
                <a:solidFill>
                  <a:srgbClr val="000000"/>
                </a:solidFill>
              </a:rPr>
              <a:t>db.employees.find({"address.city":"Pune"})</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0584954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2203014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8656981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790485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9682136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004530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eaLnBrk="1" hangingPunct="1"/>
            <a:r>
              <a:rPr lang="hu-HU" dirty="0" smtClean="0">
                <a:latin typeface="Arial" pitchFamily="34" charset="0"/>
              </a:rPr>
              <a:t>Create</a:t>
            </a:r>
          </a:p>
          <a:p>
            <a:pPr lvl="1" eaLnBrk="1" hangingPunct="1">
              <a:buFontTx/>
              <a:buChar char="•"/>
            </a:pPr>
            <a:r>
              <a:rPr lang="hu-HU" dirty="0" smtClean="0">
                <a:latin typeface="Arial" pitchFamily="34" charset="0"/>
              </a:rPr>
              <a:t>The field name _id is reserved for use as a primary key; its value must be unique in the collection, is immutable, and may be of any type other than an array.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start with the $ character.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contain the . character. </a:t>
            </a:r>
          </a:p>
          <a:p>
            <a:pPr eaLnBrk="1" hangingPunct="1"/>
            <a:r>
              <a:rPr lang="hu-HU" dirty="0" smtClean="0">
                <a:latin typeface="Arial" pitchFamily="34" charset="0"/>
              </a:rPr>
              <a:t>   Create with save</a:t>
            </a:r>
          </a:p>
          <a:p>
            <a:pPr lvl="2" eaLnBrk="1" hangingPunct="1">
              <a:buFontTx/>
              <a:buChar char="•"/>
            </a:pPr>
            <a:r>
              <a:rPr lang="hu-HU" dirty="0" smtClean="0">
                <a:latin typeface="Arial" pitchFamily="34" charset="0"/>
              </a:rPr>
              <a:t>If the &lt;document&gt; argument does not contain the _id field or contains an _id field with a value not in the collection, the </a:t>
            </a:r>
            <a:r>
              <a:rPr lang="hu-HU" dirty="0" smtClean="0">
                <a:latin typeface="Arial" pitchFamily="34" charset="0"/>
                <a:hlinkClick r:id="rId3" tooltip="db.collection.save"/>
              </a:rPr>
              <a:t>save()</a:t>
            </a:r>
            <a:r>
              <a:rPr lang="hu-HU" dirty="0" smtClean="0">
                <a:latin typeface="Arial" pitchFamily="34" charset="0"/>
              </a:rPr>
              <a:t> method performs an insert of the document. </a:t>
            </a:r>
          </a:p>
          <a:p>
            <a:pPr lvl="2" eaLnBrk="1" hangingPunct="1">
              <a:buFontTx/>
              <a:buChar char="•"/>
            </a:pPr>
            <a:r>
              <a:rPr lang="hu-HU" dirty="0" smtClean="0">
                <a:latin typeface="Arial" pitchFamily="34" charset="0"/>
              </a:rPr>
              <a:t>Otherwise, the </a:t>
            </a:r>
            <a:r>
              <a:rPr lang="hu-HU" dirty="0" smtClean="0">
                <a:latin typeface="Arial" pitchFamily="34" charset="0"/>
                <a:hlinkClick r:id="rId3" tooltip="db.collection.save"/>
              </a:rPr>
              <a:t>save()</a:t>
            </a:r>
            <a:r>
              <a:rPr lang="hu-HU" dirty="0" smtClean="0">
                <a:latin typeface="Arial" pitchFamily="34" charset="0"/>
              </a:rPr>
              <a:t> method performs an update. </a:t>
            </a:r>
          </a:p>
          <a:p>
            <a:pPr eaLnBrk="1" hangingPunct="1"/>
            <a:r>
              <a:rPr lang="hu-HU" dirty="0" smtClean="0">
                <a:latin typeface="Arial" pitchFamily="34" charset="0"/>
              </a:rPr>
              <a:t>sds</a:t>
            </a:r>
          </a:p>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2513660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 {firstname: /^M(a|i)/} )</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39308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 {firstname:/^a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sort({lastname:-1,age:1}).pretty()</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7106096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2339222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3962873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dirty="0" smtClean="0"/>
              <a:t>Increase Kulkarni salary by 320 </a:t>
            </a:r>
            <a:r>
              <a:rPr lang="en-US" baseline="0" dirty="0" smtClean="0"/>
              <a:t> -&gt; db.employees.update({lastname:"Kulkarni"},{$inc:{salary:320}})</a:t>
            </a:r>
          </a:p>
          <a:p>
            <a:endParaRPr lang="en-US" baseline="0" dirty="0" smtClean="0"/>
          </a:p>
          <a:p>
            <a:r>
              <a:rPr lang="en-US" dirty="0" smtClean="0"/>
              <a:t>Update Shilpa's Gender   -&gt;     &gt; db.employees.update({firstname:"shilpa"},{$set:{gender:"Female"}})</a:t>
            </a:r>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b.collection.findAndModify(</a:t>
            </a:r>
            <a:r>
              <a:rPr lang="en-US" i="1" dirty="0" smtClean="0"/>
              <a:t>document</a:t>
            </a: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Modifies and returns a single document. By default, the returned document does not include the modifications made on the upd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o return the document with the modifications made on the update, use the new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a:t>
            </a:r>
            <a:r>
              <a:rPr lang="en-US" dirty="0" smtClean="0">
                <a:hlinkClick r:id="rId3" tooltip="db.collection.findAndModify()"/>
              </a:rPr>
              <a:t>findAndModify()</a:t>
            </a:r>
            <a:r>
              <a:rPr lang="en-US" dirty="0" smtClean="0"/>
              <a:t> method is a shell helper around the </a:t>
            </a:r>
            <a:r>
              <a:rPr lang="en-US" dirty="0" smtClean="0">
                <a:hlinkClick r:id="rId4" tooltip="findAndModify"/>
              </a:rPr>
              <a:t>findAndModify</a:t>
            </a:r>
            <a:r>
              <a:rPr lang="en-US" dirty="0" smtClean="0"/>
              <a:t> comma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b.employees.findAndModif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query: { lastname: "bhosa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salary: { $gt: 4400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sort: { age: 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update: { $inc: { salary: 1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upsert: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171450" indent="-171450">
              <a:buFont typeface="Arial" panose="020B0604020202020204" pitchFamily="34" charset="0"/>
              <a:buChar char="•"/>
            </a:pPr>
            <a:r>
              <a:rPr lang="en-US" dirty="0" smtClean="0"/>
              <a:t>The query finds a document in the employees collection where the last name field has the value bhosale, And salary field has a value greater than 44000.</a:t>
            </a:r>
          </a:p>
          <a:p>
            <a:pPr marL="171450" indent="-171450">
              <a:buFont typeface="Arial" panose="020B0604020202020204" pitchFamily="34" charset="0"/>
              <a:buChar char="•"/>
            </a:pPr>
            <a:r>
              <a:rPr lang="en-US" dirty="0" smtClean="0"/>
              <a:t>The sort orders the results of the query in ascending order. If multiple documents meet the query condition, the method will select for modification the first document as ordered by this sort.</a:t>
            </a:r>
          </a:p>
          <a:p>
            <a:pPr marL="171450" indent="-171450">
              <a:buFont typeface="Arial" panose="020B0604020202020204" pitchFamily="34" charset="0"/>
              <a:buChar char="•"/>
            </a:pPr>
            <a:r>
              <a:rPr lang="en-US" dirty="0" smtClean="0"/>
              <a:t>The update increments the value of the salary  field by 1.</a:t>
            </a:r>
          </a:p>
          <a:p>
            <a:pPr marL="171450" indent="-171450">
              <a:buFont typeface="Arial" panose="020B0604020202020204" pitchFamily="34" charset="0"/>
              <a:buChar char="•"/>
            </a:pPr>
            <a:r>
              <a:rPr lang="en-US" dirty="0" smtClean="0"/>
              <a:t>The method returns the original (i.e. pre-modification) document selected for this up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 upsert: true   -returns modified</a:t>
            </a:r>
            <a:r>
              <a:rPr lang="en-US" baseline="0" dirty="0" smtClean="0"/>
              <a:t> document</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7024141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339477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0898384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10000"/>
          </a:bodyPr>
          <a:lstStyle/>
          <a:p>
            <a:r>
              <a:rPr lang="en-US" dirty="0" smtClean="0"/>
              <a:t>Find firstname lastname and age for those employee having </a:t>
            </a:r>
          </a:p>
          <a:p>
            <a:r>
              <a:rPr lang="en-US" dirty="0" smtClean="0"/>
              <a:t>		age greater than 50 with first 5 record</a:t>
            </a:r>
          </a:p>
          <a:p>
            <a:r>
              <a:rPr lang="en-US" dirty="0" smtClean="0"/>
              <a:t>	</a:t>
            </a:r>
          </a:p>
          <a:p>
            <a:r>
              <a:rPr lang="en-US" dirty="0" smtClean="0"/>
              <a:t>	&gt; db.employees.find({age:{$gt:50}},{firstname:1,lastname:1,age:1}).limit(5).pretty()</a:t>
            </a:r>
          </a:p>
          <a:p>
            <a:r>
              <a:rPr lang="en-US" dirty="0" smtClean="0"/>
              <a:t>{</a:t>
            </a:r>
          </a:p>
          <a:p>
            <a:r>
              <a:rPr lang="en-US" dirty="0" smtClean="0"/>
              <a:t>        "_id" : ObjectId("5ae7ee6465cef006130f1abb"),</a:t>
            </a:r>
          </a:p>
          <a:p>
            <a:r>
              <a:rPr lang="en-US" dirty="0" smtClean="0"/>
              <a:t>        "firstname" : "shilpa",</a:t>
            </a:r>
          </a:p>
          <a:p>
            <a:r>
              <a:rPr lang="en-US" dirty="0" smtClean="0"/>
              <a:t>        "lastname" : "bhosale",</a:t>
            </a:r>
          </a:p>
          <a:p>
            <a:r>
              <a:rPr lang="en-US" dirty="0" smtClean="0"/>
              <a:t>        "age" : 55</a:t>
            </a:r>
          </a:p>
          <a:p>
            <a:r>
              <a:rPr lang="en-US" dirty="0" smtClean="0"/>
              <a:t>}</a:t>
            </a:r>
          </a:p>
          <a:p>
            <a:r>
              <a:rPr lang="en-US" dirty="0" smtClean="0"/>
              <a:t>{</a:t>
            </a:r>
          </a:p>
          <a:p>
            <a:r>
              <a:rPr lang="en-US" dirty="0" smtClean="0"/>
              <a:t>        "_id" : ObjectId("5ae8862d65cef006130f1abe"),</a:t>
            </a:r>
          </a:p>
          <a:p>
            <a:r>
              <a:rPr lang="en-US" dirty="0" smtClean="0"/>
              <a:t>        "firstname" : "shilpa",</a:t>
            </a:r>
          </a:p>
          <a:p>
            <a:r>
              <a:rPr lang="en-US" dirty="0" smtClean="0"/>
              <a:t>        "lastname" : "sharma",</a:t>
            </a:r>
          </a:p>
          <a:p>
            <a:r>
              <a:rPr lang="en-US" dirty="0" smtClean="0"/>
              <a:t>        "age" : 55</a:t>
            </a:r>
          </a:p>
          <a:p>
            <a:r>
              <a:rPr lang="en-US" dirty="0" smtClean="0"/>
              <a:t>}</a:t>
            </a:r>
          </a:p>
          <a:p>
            <a:r>
              <a:rPr lang="en-US" dirty="0" smtClean="0"/>
              <a:t>{</a:t>
            </a:r>
          </a:p>
          <a:p>
            <a:r>
              <a:rPr lang="en-US" dirty="0" smtClean="0"/>
              <a:t>        "_id" : ObjectId("5aeb01bab190985244cff581"),</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r>
              <a:rPr lang="en-US" dirty="0" smtClean="0"/>
              <a:t>        "_id" : ObjectId("5aeb01c5b190985244cff584"),</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3893410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Sort Document  By lastname</a:t>
            </a:r>
          </a:p>
          <a:p>
            <a:r>
              <a:rPr lang="en-US" dirty="0" smtClean="0"/>
              <a:t>	&gt; db.employees.find().sort({lastname:-1})</a:t>
            </a:r>
          </a:p>
          <a:p>
            <a:r>
              <a:rPr lang="en-US" dirty="0" smtClean="0"/>
              <a:t>	   OR</a:t>
            </a:r>
          </a:p>
          <a:p>
            <a:r>
              <a:rPr lang="en-US" dirty="0" smtClean="0"/>
              <a:t>	  db.employees.find().sort({lastname:1})</a:t>
            </a:r>
          </a:p>
          <a:p>
            <a:r>
              <a:rPr lang="en-US" dirty="0" smtClean="0"/>
              <a:t>		OR</a:t>
            </a:r>
          </a:p>
          <a:p>
            <a:r>
              <a:rPr lang="en-US" dirty="0" smtClean="0"/>
              <a:t>	db.employees.find().sort({lastname:-1}).pretty()</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4872863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effectLst/>
              </a:rPr>
              <a:t>When the </a:t>
            </a:r>
            <a:r>
              <a:rPr lang="en-US" b="1" dirty="0" smtClean="0">
                <a:effectLst/>
              </a:rPr>
              <a:t>db.collection.find ()</a:t>
            </a:r>
            <a:r>
              <a:rPr lang="en-US" dirty="0" smtClean="0">
                <a:effectLst/>
              </a:rPr>
              <a:t> function is used to search for documents in the collection, the result returns a pointer to the collection of documents returned which is called a cursor. </a:t>
            </a:r>
          </a:p>
          <a:p>
            <a:r>
              <a:rPr lang="en-US" dirty="0" smtClean="0">
                <a:effectLst/>
              </a:rPr>
              <a:t>By default, the cursor will be iterated automatically when the result of the query is returned. But one can also explicitly go through the items returned in the cursor one by one. </a:t>
            </a:r>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537893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0092194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var myEmployee = db.employees.find( { salary : { $gt:70000 }});</a:t>
            </a:r>
          </a:p>
          <a:p>
            <a:r>
              <a:rPr lang="en-US" dirty="0" smtClean="0"/>
              <a:t>while(myEmployee.hasNext()){print(tojson(myEmployee.next()));}</a:t>
            </a:r>
          </a:p>
          <a:p>
            <a:r>
              <a:rPr lang="en-US" dirty="0" smtClean="0"/>
              <a:t>------------------------------------------------------------------------------</a:t>
            </a:r>
          </a:p>
          <a:p>
            <a:endParaRPr lang="en-US" dirty="0" smtClean="0"/>
          </a:p>
          <a:p>
            <a:r>
              <a:rPr lang="en-US" dirty="0" smtClean="0"/>
              <a:t>var mycursor = db.employees.find().sort({"firstname" : -1}).limit(10).skip(2);</a:t>
            </a:r>
          </a:p>
          <a:p>
            <a:r>
              <a:rPr lang="en-US" dirty="0" smtClean="0"/>
              <a:t>while(mycursor .hasNext()){print(tojson(mycursor .next()));}</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6373365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8993390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cursor.forEach(</a:t>
            </a:r>
            <a:r>
              <a:rPr lang="en-US" i="1" dirty="0" smtClean="0"/>
              <a:t>function</a:t>
            </a:r>
            <a:r>
              <a:rPr lang="en-US" dirty="0" smtClean="0"/>
              <a:t>)-</a:t>
            </a:r>
          </a:p>
          <a:p>
            <a:r>
              <a:rPr lang="en-US" dirty="0" smtClean="0"/>
              <a:t>Iterates the cursor to apply a JavaScript function to each document from the cursor.</a:t>
            </a:r>
          </a:p>
          <a:p>
            <a:r>
              <a:rPr lang="en-US" dirty="0" smtClean="0"/>
              <a:t>The forEach() method has the following prototype form:</a:t>
            </a:r>
          </a:p>
          <a:p>
            <a:r>
              <a:rPr lang="en-US" dirty="0" smtClean="0"/>
              <a:t>db.collection.find().forEach(&lt;function&gt;) </a:t>
            </a:r>
          </a:p>
          <a:p>
            <a:r>
              <a:rPr lang="en-US" dirty="0" smtClean="0"/>
              <a:t>The forEach() method has the following parameter:</a:t>
            </a:r>
          </a:p>
          <a:p>
            <a:r>
              <a:rPr lang="en-US" dirty="0" smtClean="0"/>
              <a:t>Parameter   - function      </a:t>
            </a:r>
          </a:p>
          <a:p>
            <a:r>
              <a:rPr lang="en-US" dirty="0" smtClean="0"/>
              <a:t>Type  -     JavaScript </a:t>
            </a:r>
          </a:p>
          <a:p>
            <a:r>
              <a:rPr lang="en-US" dirty="0" smtClean="0"/>
              <a:t>Description- A   JavaScript function to apply to each document from the cursor. </a:t>
            </a:r>
          </a:p>
          <a:p>
            <a:r>
              <a:rPr lang="en-US" dirty="0" smtClean="0"/>
              <a:t>The &lt;function&gt; signature includes a single argument that is passed the current document to process.</a:t>
            </a:r>
          </a:p>
          <a:p>
            <a:endParaRPr lang="en-US" dirty="0" smtClean="0"/>
          </a:p>
          <a:p>
            <a:r>
              <a:rPr lang="en-US" dirty="0" smtClean="0"/>
              <a:t>-------------------------------------------------------------------------</a:t>
            </a:r>
          </a:p>
          <a:p>
            <a:r>
              <a:rPr lang="en-US" dirty="0" smtClean="0"/>
              <a:t>Fetch all employee Data One By One</a:t>
            </a:r>
          </a:p>
          <a:p>
            <a:r>
              <a:rPr lang="en-US" dirty="0" smtClean="0"/>
              <a:t>	&gt; for(i=0; i&lt;11; i++){db.employees.find().pretty();}</a:t>
            </a:r>
          </a:p>
          <a:p>
            <a:r>
              <a:rPr lang="en-US" dirty="0" smtClean="0"/>
              <a:t>	OR</a:t>
            </a:r>
          </a:p>
          <a:p>
            <a:r>
              <a:rPr lang="en-US" dirty="0" smtClean="0"/>
              <a:t> 	&gt;var myCursor = db.employees.find();</a:t>
            </a:r>
          </a:p>
          <a:p>
            <a:r>
              <a:rPr lang="en-US" dirty="0" smtClean="0"/>
              <a:t>	&gt;while (myCursor .hasNext()) </a:t>
            </a:r>
          </a:p>
          <a:p>
            <a:r>
              <a:rPr lang="en-US" dirty="0" smtClean="0"/>
              <a:t>	{</a:t>
            </a:r>
          </a:p>
          <a:p>
            <a:r>
              <a:rPr lang="en-US" dirty="0" smtClean="0"/>
              <a:t>		 obj = myCursor.next();	</a:t>
            </a:r>
          </a:p>
          <a:p>
            <a:r>
              <a:rPr lang="en-US" dirty="0" smtClean="0"/>
              <a:t>	}</a:t>
            </a:r>
          </a:p>
          <a:p>
            <a:r>
              <a:rPr lang="en-US" dirty="0" smtClean="0"/>
              <a:t>-------------------------------------------------------------------------------------</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808916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77500" lnSpcReduction="20000"/>
          </a:bodyPr>
          <a:lstStyle/>
          <a:p>
            <a:pPr eaLnBrk="1" hangingPunct="1"/>
            <a:r>
              <a:rPr lang="en-US" altLang="en-US" dirty="0" smtClean="0"/>
              <a:t> </a:t>
            </a:r>
            <a:r>
              <a:rPr lang="en-US" altLang="zh-CN" dirty="0" smtClean="0"/>
              <a:t>http://www.mongodb.org/display/DOCS/How+to+do+Snapshotted+Queries+in+the+Mongo+Database</a:t>
            </a:r>
          </a:p>
          <a:p>
            <a:pPr eaLnBrk="1" hangingPunct="1"/>
            <a:endParaRPr lang="en-US" altLang="zh-CN" dirty="0" smtClean="0"/>
          </a:p>
          <a:p>
            <a:r>
              <a:rPr lang="en-US" b="1" dirty="0" smtClean="0"/>
              <a:t>cursor.snapshot()-</a:t>
            </a:r>
          </a:p>
          <a:p>
            <a:r>
              <a:rPr lang="en-US" dirty="0" smtClean="0"/>
              <a:t>cursor.snapshot()-     Append the </a:t>
            </a:r>
            <a:r>
              <a:rPr lang="en-US" dirty="0" smtClean="0">
                <a:hlinkClick r:id="rId3" tooltip="cursor.snapshot()"/>
              </a:rPr>
              <a:t>snapshot()</a:t>
            </a:r>
            <a:r>
              <a:rPr lang="en-US" dirty="0" smtClean="0"/>
              <a:t> method to a cursor to toggle the “snapshot” mode. </a:t>
            </a:r>
          </a:p>
          <a:p>
            <a:r>
              <a:rPr lang="en-US" dirty="0" smtClean="0"/>
              <a:t>This ensures that the query will not return a document multiple times, even if intervening write operations result in a move of the document due to the growth in document size.</a:t>
            </a:r>
          </a:p>
          <a:p>
            <a:endParaRPr lang="en-US" dirty="0" smtClean="0"/>
          </a:p>
          <a:p>
            <a:r>
              <a:rPr lang="en-US" dirty="0" smtClean="0"/>
              <a:t>Warning</a:t>
            </a:r>
          </a:p>
          <a:p>
            <a:r>
              <a:rPr lang="en-US" dirty="0" smtClean="0"/>
              <a:t>You must apply </a:t>
            </a:r>
            <a:r>
              <a:rPr lang="en-US" dirty="0" smtClean="0">
                <a:hlinkClick r:id="rId3" tooltip="cursor.snapshot()"/>
              </a:rPr>
              <a:t>snapshot()</a:t>
            </a:r>
            <a:r>
              <a:rPr lang="en-US" dirty="0" smtClean="0"/>
              <a:t> to the cursor before retrieving any documents from the database.</a:t>
            </a:r>
          </a:p>
          <a:p>
            <a:r>
              <a:rPr lang="en-US" dirty="0" smtClean="0"/>
              <a:t>You can only use </a:t>
            </a:r>
            <a:r>
              <a:rPr lang="en-US" dirty="0" smtClean="0">
                <a:hlinkClick r:id="rId3" tooltip="cursor.snapshot()"/>
              </a:rPr>
              <a:t>snapshot()</a:t>
            </a:r>
            <a:r>
              <a:rPr lang="en-US" dirty="0" smtClean="0"/>
              <a:t> with </a:t>
            </a:r>
            <a:r>
              <a:rPr lang="en-US" b="1" dirty="0" smtClean="0"/>
              <a:t>unsharded</a:t>
            </a:r>
            <a:r>
              <a:rPr lang="en-US" dirty="0" smtClean="0"/>
              <a:t> collections.</a:t>
            </a:r>
          </a:p>
          <a:p>
            <a:endParaRPr lang="en-US" dirty="0" smtClean="0"/>
          </a:p>
          <a:p>
            <a:endParaRPr lang="en-US" dirty="0" smtClean="0"/>
          </a:p>
          <a:p>
            <a:r>
              <a:rPr lang="en-US" dirty="0" smtClean="0"/>
              <a:t>The </a:t>
            </a:r>
            <a:r>
              <a:rPr lang="en-US" dirty="0" smtClean="0">
                <a:hlinkClick r:id="rId3" tooltip="cursor.snapshot()"/>
              </a:rPr>
              <a:t>snapshot()</a:t>
            </a:r>
            <a:r>
              <a:rPr lang="en-US" dirty="0" smtClean="0"/>
              <a:t> does not guarantee isolation from insertion or deletions.</a:t>
            </a:r>
          </a:p>
          <a:p>
            <a:r>
              <a:rPr lang="en-US" dirty="0" smtClean="0"/>
              <a:t>The </a:t>
            </a:r>
            <a:r>
              <a:rPr lang="en-US" dirty="0" smtClean="0">
                <a:hlinkClick r:id="rId3" tooltip="cursor.snapshot()"/>
              </a:rPr>
              <a:t>snapshot()</a:t>
            </a:r>
            <a:r>
              <a:rPr lang="en-US" dirty="0" smtClean="0"/>
              <a:t> </a:t>
            </a:r>
            <a:r>
              <a:rPr lang="en-US" b="1" dirty="0" smtClean="0"/>
              <a:t>cannot</a:t>
            </a:r>
            <a:r>
              <a:rPr lang="en-US" dirty="0" smtClean="0"/>
              <a:t> be used with </a:t>
            </a:r>
            <a:r>
              <a:rPr lang="en-US" dirty="0" smtClean="0">
                <a:hlinkClick r:id="rId4" tooltip="cursor.sort()"/>
              </a:rPr>
              <a:t>sort()</a:t>
            </a:r>
            <a:r>
              <a:rPr lang="en-US" dirty="0" smtClean="0"/>
              <a:t> or </a:t>
            </a:r>
            <a:r>
              <a:rPr lang="en-US" dirty="0" smtClean="0">
                <a:hlinkClick r:id="rId5" tooltip="cursor.hint()"/>
              </a:rPr>
              <a:t>hint()</a:t>
            </a:r>
            <a:r>
              <a:rPr lang="en-US" dirty="0" smtClean="0"/>
              <a:t>.</a:t>
            </a:r>
          </a:p>
          <a:p>
            <a:endParaRPr lang="en-US" dirty="0" smtClean="0"/>
          </a:p>
          <a:p>
            <a:pPr eaLnBrk="1" hangingPunct="1"/>
            <a:r>
              <a:rPr lang="en-US" altLang="zh-CN" dirty="0" smtClean="0"/>
              <a:t>--------------------------------------------------------------------------------------------------------------------------------</a:t>
            </a:r>
            <a:endParaRPr lang="zh-CN" altLang="en-US" dirty="0" smtClean="0"/>
          </a:p>
          <a:p>
            <a:pPr eaLnBrk="1" hangingPunct="1"/>
            <a:r>
              <a:rPr lang="en-US" altLang="zh-CN" dirty="0" smtClean="0"/>
              <a:t>Snapshot Mode</a:t>
            </a:r>
          </a:p>
          <a:p>
            <a:pPr eaLnBrk="1" hangingPunct="1"/>
            <a:endParaRPr lang="en-US" altLang="zh-CN" dirty="0" smtClean="0"/>
          </a:p>
          <a:p>
            <a:pPr eaLnBrk="1" hangingPunct="1"/>
            <a:r>
              <a:rPr lang="en-US" altLang="zh-CN" dirty="0" smtClean="0"/>
              <a:t>snapshot() mode assures that objects which update during the lifetime of a query are returned once and only once. This is most important when doing a find-and-update loop that changes the size of documents that are returned ($inc does not change size).</a:t>
            </a:r>
          </a:p>
          <a:p>
            <a:pPr eaLnBrk="1" hangingPunct="1"/>
            <a:endParaRPr lang="en-US" altLang="zh-CN" dirty="0" smtClean="0"/>
          </a:p>
          <a:p>
            <a:pPr eaLnBrk="1" hangingPunct="1"/>
            <a:r>
              <a:rPr lang="en-US" altLang="zh-CN" dirty="0" smtClean="0"/>
              <a:t>&gt; // mongo shell example</a:t>
            </a:r>
          </a:p>
          <a:p>
            <a:pPr lvl="0"/>
            <a:r>
              <a:rPr lang="en-US" altLang="zh-CN" dirty="0" smtClean="0"/>
              <a:t>&gt;</a:t>
            </a:r>
            <a:r>
              <a:rPr lang="en-US" altLang="zh-CN" sz="1000" dirty="0" smtClean="0">
                <a:solidFill>
                  <a:srgbClr val="000000"/>
                </a:solidFill>
              </a:rPr>
              <a:t>var cursor = db.employees.find({address.city:”Pune”}).snapshot(); </a:t>
            </a:r>
          </a:p>
          <a:p>
            <a:pPr eaLnBrk="1" hangingPunct="1"/>
            <a:endParaRPr lang="en-US" altLang="zh-CN" dirty="0" smtClean="0"/>
          </a:p>
          <a:p>
            <a:pPr eaLnBrk="1" hangingPunct="1"/>
            <a:r>
              <a:rPr lang="en-US" altLang="zh-CN" dirty="0" smtClean="0"/>
              <a:t>Even with snapshot mode, items inserted or deleted during the query may or may not be returned; that is, this mode is not a true point-in-time snapshot.</a:t>
            </a:r>
          </a:p>
          <a:p>
            <a:pPr eaLnBrk="1" hangingPunct="1"/>
            <a:endParaRPr lang="en-US" altLang="zh-CN" dirty="0" smtClean="0"/>
          </a:p>
          <a:p>
            <a:pPr eaLnBrk="1" hangingPunct="1"/>
            <a:r>
              <a:rPr lang="en-US" altLang="zh-CN" dirty="0" smtClean="0"/>
              <a:t>Because snapshot mode traverses the _id index, it may not be used with sorting or explicit hints. It also cannot use any other index for the query.</a:t>
            </a:r>
          </a:p>
          <a:p>
            <a:pPr eaLnBrk="1" hangingPunct="1"/>
            <a:endParaRPr lang="en-US" altLang="zh-CN" dirty="0" smtClean="0"/>
          </a:p>
          <a:p>
            <a:pPr eaLnBrk="1" hangingPunct="1"/>
            <a:r>
              <a:rPr lang="en-US" altLang="zh-CN" dirty="0" smtClean="0"/>
              <a:t>You can get the same effect as snapshot by using any unique index on a field(s) that will not be modified (probably best to use explicit hint() too).</a:t>
            </a:r>
          </a:p>
          <a:p>
            <a:pPr eaLnBrk="1" hangingPunct="1"/>
            <a:r>
              <a:rPr lang="en-US" altLang="zh-CN" dirty="0" smtClean="0"/>
              <a:t> If you want to use a non-unique index (such as creation time), you can make it unique by appending _id to the index at creation time.</a:t>
            </a:r>
            <a:endParaRPr lang="zh-CN" alt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9843225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090804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eaLnBrk="1" hangingPunct="1"/>
            <a:r>
              <a:rPr lang="hu-HU" dirty="0" smtClean="0">
                <a:latin typeface="Arial" pitchFamily="34" charset="0"/>
              </a:rPr>
              <a:t>Create</a:t>
            </a:r>
          </a:p>
          <a:p>
            <a:pPr lvl="1" eaLnBrk="1" hangingPunct="1">
              <a:buFontTx/>
              <a:buChar char="•"/>
            </a:pPr>
            <a:r>
              <a:rPr lang="hu-HU" dirty="0" smtClean="0">
                <a:latin typeface="Arial" pitchFamily="34" charset="0"/>
              </a:rPr>
              <a:t>The field name _id is reserved for use as a primary key; its value must be unique in the collection, is immutable, and may be of any type other than an array.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start with the $ character.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contain the . character. </a:t>
            </a:r>
          </a:p>
          <a:p>
            <a:pPr eaLnBrk="1" hangingPunct="1"/>
            <a:r>
              <a:rPr lang="hu-HU" dirty="0" smtClean="0">
                <a:latin typeface="Arial" pitchFamily="34" charset="0"/>
              </a:rPr>
              <a:t>   Create with save</a:t>
            </a:r>
          </a:p>
          <a:p>
            <a:pPr lvl="2" eaLnBrk="1" hangingPunct="1">
              <a:buFontTx/>
              <a:buChar char="•"/>
            </a:pPr>
            <a:r>
              <a:rPr lang="hu-HU" dirty="0" smtClean="0">
                <a:latin typeface="Arial" pitchFamily="34" charset="0"/>
              </a:rPr>
              <a:t>If the &lt;document&gt; argument does not contain the _id field or contains an _id field with a value not in the collection, the </a:t>
            </a:r>
            <a:r>
              <a:rPr lang="hu-HU" dirty="0" smtClean="0">
                <a:latin typeface="Arial" pitchFamily="34" charset="0"/>
                <a:hlinkClick r:id="rId3" tooltip="db.collection.save"/>
              </a:rPr>
              <a:t>save()</a:t>
            </a:r>
            <a:r>
              <a:rPr lang="hu-HU" dirty="0" smtClean="0">
                <a:latin typeface="Arial" pitchFamily="34" charset="0"/>
              </a:rPr>
              <a:t> method performs an insert of the document. </a:t>
            </a:r>
          </a:p>
          <a:p>
            <a:pPr lvl="2" eaLnBrk="1" hangingPunct="1">
              <a:buFontTx/>
              <a:buChar char="•"/>
            </a:pPr>
            <a:r>
              <a:rPr lang="hu-HU" dirty="0" smtClean="0">
                <a:latin typeface="Arial" pitchFamily="34" charset="0"/>
              </a:rPr>
              <a:t>Otherwise, the </a:t>
            </a:r>
            <a:r>
              <a:rPr lang="hu-HU" dirty="0" smtClean="0">
                <a:latin typeface="Arial" pitchFamily="34" charset="0"/>
                <a:hlinkClick r:id="rId3" tooltip="db.collection.save"/>
              </a:rPr>
              <a:t>save()</a:t>
            </a:r>
            <a:r>
              <a:rPr lang="hu-HU" dirty="0" smtClean="0">
                <a:latin typeface="Arial" pitchFamily="34" charset="0"/>
              </a:rPr>
              <a:t> method performs an update. </a:t>
            </a:r>
          </a:p>
          <a:p>
            <a:pPr eaLnBrk="1" hangingPunct="1"/>
            <a:r>
              <a:rPr lang="hu-HU" dirty="0" smtClean="0">
                <a:latin typeface="Arial" pitchFamily="34" charset="0"/>
              </a:rPr>
              <a:t>sds</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261140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840253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30329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60586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78045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691550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8.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8.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8.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8.xml"/><Relationship Id="rId1" Type="http://schemas.openxmlformats.org/officeDocument/2006/relationships/tags" Target="../tags/tag2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4.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985324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436720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16217"/>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58732"/>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762952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399223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305978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25650456"/>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81528"/>
            <a:ext cx="6793764" cy="4956989"/>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61748017"/>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28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074922" cy="5028908"/>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74668725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958961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6194766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Arial" panose="020B0604020202020204" pitchFamily="34" charset="0"/>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4392037"/>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4pPr>
              <a:defRPr baseline="0"/>
            </a:lvl4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112233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202076"/>
            <a:ext cx="6749556"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489844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08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noAutofit/>
          </a:bodyPr>
          <a:lstStyle>
            <a:lvl1pPr>
              <a:defRPr sz="3200">
                <a:solidFill>
                  <a:schemeClr val="tx2"/>
                </a:solidFill>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88468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804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3379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29731645"/>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28930391"/>
      </p:ext>
    </p:extLst>
  </p:cSld>
  <p:clrMapOvr>
    <a:masterClrMapping/>
  </p:clrMapOvr>
  <p:timing>
    <p:tnLst>
      <p:par>
        <p:cTn id="1" dur="indefinite" restart="never" nodeType="tmRoot"/>
      </p:par>
    </p:tnLst>
  </p:timing>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6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0089575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635184"/>
      </p:ext>
    </p:extLst>
  </p:cSld>
  <p:clrMapOvr>
    <a:masterClrMapping/>
  </p:clrMapOvr>
  <p:hf sldNum="0"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5" Type="http://schemas.openxmlformats.org/officeDocument/2006/relationships/image" Target="../media/image16.svg"/><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png"/><Relationship Id="rId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7.xml"/><Relationship Id="rId1" Type="http://schemas.openxmlformats.org/officeDocument/2006/relationships/theme" Target="../theme/theme3.xml"/><Relationship Id="rId19" Type="http://schemas.openxmlformats.org/officeDocument/2006/relationships/image" Target="../media/image16.sv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4.sv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4.svg"/><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5" Type="http://schemas.openxmlformats.org/officeDocument/2006/relationships/image" Target="../media/image16.svg"/><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 Id="rId19" Type="http://schemas.openxmlformats.org/officeDocument/2006/relationships/image" Target="../media/image16.sv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4.svg"/><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0088710"/>
      </p:ext>
    </p:extLst>
  </p:cSld>
  <p:clrMap bg1="lt1" tx1="dk1" bg2="lt2" tx2="dk2" accent1="accent1" accent2="accent2" accent3="accent3" accent4="accent4" accent5="accent5" accent6="accent6" hlink="hlink" folHlink="folHlink"/>
  <p:sldLayoutIdLst>
    <p:sldLayoutId id="2147483722" r:id="rId1"/>
    <p:sldLayoutId id="2147483751" r:id="rId2"/>
    <p:sldLayoutId id="2147483752" r:id="rId3"/>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
        <p:nvSpPr>
          <p:cNvPr id="29" name="Title 1"/>
          <p:cNvSpPr txBox="1">
            <a:spLocks/>
          </p:cNvSpPr>
          <p:nvPr userDrawn="1">
            <p:custDataLst>
              <p:tags r:id="rId4"/>
            </p:custDataLst>
          </p:nvPr>
        </p:nvSpPr>
        <p:spPr>
          <a:xfrm>
            <a:off x="309801" y="418452"/>
            <a:ext cx="8312649" cy="413755"/>
          </a:xfrm>
          <a:prstGeom prst="rect">
            <a:avLst/>
          </a:prstGeom>
        </p:spPr>
        <p:txBody>
          <a:bodyPr>
            <a:noAutofit/>
          </a:bodyPr>
          <a:lstStyle>
            <a:lvl1pPr algn="l" defTabSz="685800" rtl="0" eaLnBrk="1" latinLnBrk="0" hangingPunct="1">
              <a:lnSpc>
                <a:spcPct val="90000"/>
              </a:lnSpc>
              <a:spcBef>
                <a:spcPct val="0"/>
              </a:spcBef>
              <a:buNone/>
              <a:defRPr lang="pt-PT"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49929015"/>
      </p:ext>
    </p:extLst>
  </p:cSld>
  <p:clrMap bg1="lt1" tx1="dk1" bg2="lt2" tx2="dk2" accent1="accent1" accent2="accent2" accent3="accent3" accent4="accent4" accent5="accent5" accent6="accent6" hlink="hlink" folHlink="folHlink"/>
  <p:sldLayoutIdLst>
    <p:sldLayoutId id="2147483724" r:id="rId1"/>
    <p:sldLayoutId id="2147483725"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
        <p:nvSpPr>
          <p:cNvPr id="32" name="Title 1"/>
          <p:cNvSpPr txBox="1">
            <a:spLocks/>
          </p:cNvSpPr>
          <p:nvPr userDrawn="1">
            <p:custDataLst>
              <p:tags r:id="rId2"/>
            </p:custDataLst>
          </p:nvPr>
        </p:nvSpPr>
        <p:spPr>
          <a:xfrm>
            <a:off x="309801" y="439000"/>
            <a:ext cx="8312649" cy="413755"/>
          </a:xfrm>
          <a:prstGeom prst="rect">
            <a:avLst/>
          </a:prstGeom>
        </p:spPr>
        <p:txBody>
          <a:bodyPr>
            <a:noAutofit/>
          </a:bodyPr>
          <a:lstStyle>
            <a:lvl1pPr algn="l" defTabSz="685800" rtl="0" eaLnBrk="1" latinLnBrk="0" hangingPunct="1">
              <a:lnSpc>
                <a:spcPct val="90000"/>
              </a:lnSpc>
              <a:spcBef>
                <a:spcPct val="0"/>
              </a:spcBef>
              <a:buNone/>
              <a:defRPr sz="3200" kern="1200">
                <a:solidFill>
                  <a:schemeClr val="tx2"/>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0185664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9">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180645956"/>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 id="2147483732" r:id="rId4"/>
    <p:sldLayoutId id="2147483733" r:id="rId5"/>
    <p:sldLayoutId id="2147483734" r:id="rId6"/>
    <p:sldLayoutId id="2147483735"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0381121"/>
      </p:ext>
    </p:extLst>
  </p:cSld>
  <p:clrMap bg1="lt1" tx1="dk1" bg2="lt2" tx2="dk2" accent1="accent1" accent2="accent2" accent3="accent3" accent4="accent4" accent5="accent5" accent6="accent6" hlink="hlink" folHlink="folHlink"/>
  <p:sldLayoutIdLst>
    <p:sldLayoutId id="2147483738"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04745888"/>
      </p:ext>
    </p:extLst>
  </p:cSld>
  <p:clrMap bg1="lt1" tx1="dk1" bg2="lt2" tx2="dk2" accent1="accent1" accent2="accent2" accent3="accent3" accent4="accent4" accent5="accent5" accent6="accent6" hlink="hlink" folHlink="folHlink"/>
  <p:sldLayoutIdLst>
    <p:sldLayoutId id="2147483740" r:id="rId1"/>
    <p:sldLayoutId id="2147483741"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62280673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6735132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3.xml"/><Relationship Id="rId7" Type="http://schemas.openxmlformats.org/officeDocument/2006/relationships/diagramData" Target="../diagrams/data8.xml"/><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image" Target="../media/image3.emf"/><Relationship Id="rId11" Type="http://schemas.microsoft.com/office/2007/relationships/diagramDrawing" Target="../diagrams/drawing8.xml"/><Relationship Id="rId5" Type="http://schemas.openxmlformats.org/officeDocument/2006/relationships/oleObject" Target="../embeddings/oleObject13.bin"/><Relationship Id="rId10" Type="http://schemas.openxmlformats.org/officeDocument/2006/relationships/diagramColors" Target="../diagrams/colors8.xml"/><Relationship Id="rId4" Type="http://schemas.openxmlformats.org/officeDocument/2006/relationships/notesSlide" Target="../notesSlides/notesSlide10.xml"/><Relationship Id="rId9" Type="http://schemas.openxmlformats.org/officeDocument/2006/relationships/diagramQuickStyle" Target="../diagrams/quickStyle8.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3.xml"/><Relationship Id="rId7" Type="http://schemas.openxmlformats.org/officeDocument/2006/relationships/diagramData" Target="../diagrams/data9.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3.emf"/><Relationship Id="rId11" Type="http://schemas.microsoft.com/office/2007/relationships/diagramDrawing" Target="../diagrams/drawing9.xml"/><Relationship Id="rId5" Type="http://schemas.openxmlformats.org/officeDocument/2006/relationships/oleObject" Target="../embeddings/oleObject14.bin"/><Relationship Id="rId10" Type="http://schemas.openxmlformats.org/officeDocument/2006/relationships/diagramColors" Target="../diagrams/colors9.xml"/><Relationship Id="rId4" Type="http://schemas.openxmlformats.org/officeDocument/2006/relationships/notesSlide" Target="../notesSlides/notesSlide11.xml"/><Relationship Id="rId9" Type="http://schemas.openxmlformats.org/officeDocument/2006/relationships/diagramQuickStyle" Target="../diagrams/quickStyle9.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3.xml"/><Relationship Id="rId7" Type="http://schemas.openxmlformats.org/officeDocument/2006/relationships/diagramData" Target="../diagrams/data10.xml"/><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image" Target="../media/image3.emf"/><Relationship Id="rId11" Type="http://schemas.microsoft.com/office/2007/relationships/diagramDrawing" Target="../diagrams/drawing10.xml"/><Relationship Id="rId5" Type="http://schemas.openxmlformats.org/officeDocument/2006/relationships/oleObject" Target="../embeddings/oleObject15.bin"/><Relationship Id="rId10" Type="http://schemas.openxmlformats.org/officeDocument/2006/relationships/diagramColors" Target="../diagrams/colors10.xml"/><Relationship Id="rId4" Type="http://schemas.openxmlformats.org/officeDocument/2006/relationships/notesSlide" Target="../notesSlides/notesSlide12.xml"/><Relationship Id="rId9" Type="http://schemas.openxmlformats.org/officeDocument/2006/relationships/diagramQuickStyle" Target="../diagrams/quickStyle10.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3.xml"/><Relationship Id="rId7" Type="http://schemas.openxmlformats.org/officeDocument/2006/relationships/diagramData" Target="../diagrams/data11.xml"/><Relationship Id="rId2" Type="http://schemas.openxmlformats.org/officeDocument/2006/relationships/tags" Target="../tags/tag37.xml"/><Relationship Id="rId1" Type="http://schemas.openxmlformats.org/officeDocument/2006/relationships/vmlDrawing" Target="../drawings/vmlDrawing16.vml"/><Relationship Id="rId6" Type="http://schemas.openxmlformats.org/officeDocument/2006/relationships/image" Target="../media/image3.emf"/><Relationship Id="rId11" Type="http://schemas.microsoft.com/office/2007/relationships/diagramDrawing" Target="../diagrams/drawing11.xml"/><Relationship Id="rId5" Type="http://schemas.openxmlformats.org/officeDocument/2006/relationships/oleObject" Target="../embeddings/oleObject16.bin"/><Relationship Id="rId10" Type="http://schemas.openxmlformats.org/officeDocument/2006/relationships/diagramColors" Target="../diagrams/colors11.xml"/><Relationship Id="rId4" Type="http://schemas.openxmlformats.org/officeDocument/2006/relationships/notesSlide" Target="../notesSlides/notesSlide13.xml"/><Relationship Id="rId9" Type="http://schemas.openxmlformats.org/officeDocument/2006/relationships/diagramQuickStyle" Target="../diagrams/quickStyle11.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3.xml"/><Relationship Id="rId7" Type="http://schemas.openxmlformats.org/officeDocument/2006/relationships/diagramData" Target="../diagrams/data12.xml"/><Relationship Id="rId2" Type="http://schemas.openxmlformats.org/officeDocument/2006/relationships/tags" Target="../tags/tag38.xml"/><Relationship Id="rId1" Type="http://schemas.openxmlformats.org/officeDocument/2006/relationships/vmlDrawing" Target="../drawings/vmlDrawing17.vml"/><Relationship Id="rId6" Type="http://schemas.openxmlformats.org/officeDocument/2006/relationships/image" Target="../media/image3.emf"/><Relationship Id="rId11" Type="http://schemas.microsoft.com/office/2007/relationships/diagramDrawing" Target="../diagrams/drawing12.xml"/><Relationship Id="rId5" Type="http://schemas.openxmlformats.org/officeDocument/2006/relationships/oleObject" Target="../embeddings/oleObject17.bin"/><Relationship Id="rId10" Type="http://schemas.openxmlformats.org/officeDocument/2006/relationships/diagramColors" Target="../diagrams/colors12.xml"/><Relationship Id="rId4" Type="http://schemas.openxmlformats.org/officeDocument/2006/relationships/notesSlide" Target="../notesSlides/notesSlide14.xml"/><Relationship Id="rId9" Type="http://schemas.openxmlformats.org/officeDocument/2006/relationships/diagramQuickStyle" Target="../diagrams/quickStyle12.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3.xml"/><Relationship Id="rId7" Type="http://schemas.openxmlformats.org/officeDocument/2006/relationships/diagramData" Target="../diagrams/data13.xml"/><Relationship Id="rId2" Type="http://schemas.openxmlformats.org/officeDocument/2006/relationships/tags" Target="../tags/tag39.xml"/><Relationship Id="rId1" Type="http://schemas.openxmlformats.org/officeDocument/2006/relationships/vmlDrawing" Target="../drawings/vmlDrawing18.vml"/><Relationship Id="rId6" Type="http://schemas.openxmlformats.org/officeDocument/2006/relationships/image" Target="../media/image3.emf"/><Relationship Id="rId11" Type="http://schemas.microsoft.com/office/2007/relationships/diagramDrawing" Target="../diagrams/drawing13.xml"/><Relationship Id="rId5" Type="http://schemas.openxmlformats.org/officeDocument/2006/relationships/oleObject" Target="../embeddings/oleObject18.bin"/><Relationship Id="rId10" Type="http://schemas.openxmlformats.org/officeDocument/2006/relationships/diagramColors" Target="../diagrams/colors13.xml"/><Relationship Id="rId4" Type="http://schemas.openxmlformats.org/officeDocument/2006/relationships/notesSlide" Target="../notesSlides/notesSlide15.xml"/><Relationship Id="rId9" Type="http://schemas.openxmlformats.org/officeDocument/2006/relationships/diagramQuickStyle" Target="../diagrams/quickStyl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3.xml"/><Relationship Id="rId7" Type="http://schemas.openxmlformats.org/officeDocument/2006/relationships/diagramData" Target="../diagrams/data14.xml"/><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image" Target="../media/image3.emf"/><Relationship Id="rId11" Type="http://schemas.microsoft.com/office/2007/relationships/diagramDrawing" Target="../diagrams/drawing14.xml"/><Relationship Id="rId5" Type="http://schemas.openxmlformats.org/officeDocument/2006/relationships/oleObject" Target="../embeddings/oleObject20.bin"/><Relationship Id="rId10" Type="http://schemas.openxmlformats.org/officeDocument/2006/relationships/diagramColors" Target="../diagrams/colors14.xml"/><Relationship Id="rId4" Type="http://schemas.openxmlformats.org/officeDocument/2006/relationships/notesSlide" Target="../notesSlides/notesSlide17.xml"/><Relationship Id="rId9" Type="http://schemas.openxmlformats.org/officeDocument/2006/relationships/diagramQuickStyle" Target="../diagrams/quickStyle14.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5.xml"/><Relationship Id="rId13" Type="http://schemas.openxmlformats.org/officeDocument/2006/relationships/diagramLayout" Target="../diagrams/layout16.xml"/><Relationship Id="rId3" Type="http://schemas.openxmlformats.org/officeDocument/2006/relationships/slideLayout" Target="../slideLayouts/slideLayout3.xml"/><Relationship Id="rId7" Type="http://schemas.openxmlformats.org/officeDocument/2006/relationships/diagramData" Target="../diagrams/data15.xml"/><Relationship Id="rId12" Type="http://schemas.openxmlformats.org/officeDocument/2006/relationships/diagramData" Target="../diagrams/data16.xml"/><Relationship Id="rId2" Type="http://schemas.openxmlformats.org/officeDocument/2006/relationships/tags" Target="../tags/tag42.xml"/><Relationship Id="rId16" Type="http://schemas.microsoft.com/office/2007/relationships/diagramDrawing" Target="../diagrams/drawing16.xml"/><Relationship Id="rId1" Type="http://schemas.openxmlformats.org/officeDocument/2006/relationships/vmlDrawing" Target="../drawings/vmlDrawing21.vml"/><Relationship Id="rId6" Type="http://schemas.openxmlformats.org/officeDocument/2006/relationships/image" Target="../media/image3.emf"/><Relationship Id="rId11" Type="http://schemas.microsoft.com/office/2007/relationships/diagramDrawing" Target="../diagrams/drawing15.xml"/><Relationship Id="rId5" Type="http://schemas.openxmlformats.org/officeDocument/2006/relationships/oleObject" Target="../embeddings/oleObject21.bin"/><Relationship Id="rId15" Type="http://schemas.openxmlformats.org/officeDocument/2006/relationships/diagramColors" Target="../diagrams/colors16.xml"/><Relationship Id="rId10" Type="http://schemas.openxmlformats.org/officeDocument/2006/relationships/diagramColors" Target="../diagrams/colors15.xml"/><Relationship Id="rId4" Type="http://schemas.openxmlformats.org/officeDocument/2006/relationships/notesSlide" Target="../notesSlides/notesSlide18.xml"/><Relationship Id="rId9" Type="http://schemas.openxmlformats.org/officeDocument/2006/relationships/diagramQuickStyle" Target="../diagrams/quickStyle15.xml"/><Relationship Id="rId14" Type="http://schemas.openxmlformats.org/officeDocument/2006/relationships/diagramQuickStyle" Target="../diagrams/quickStyle16.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7.xml"/><Relationship Id="rId13" Type="http://schemas.openxmlformats.org/officeDocument/2006/relationships/diagramLayout" Target="../diagrams/layout18.xml"/><Relationship Id="rId3" Type="http://schemas.openxmlformats.org/officeDocument/2006/relationships/slideLayout" Target="../slideLayouts/slideLayout3.xml"/><Relationship Id="rId7" Type="http://schemas.openxmlformats.org/officeDocument/2006/relationships/diagramData" Target="../diagrams/data17.xml"/><Relationship Id="rId12" Type="http://schemas.openxmlformats.org/officeDocument/2006/relationships/diagramData" Target="../diagrams/data18.xml"/><Relationship Id="rId2" Type="http://schemas.openxmlformats.org/officeDocument/2006/relationships/tags" Target="../tags/tag43.xml"/><Relationship Id="rId16" Type="http://schemas.microsoft.com/office/2007/relationships/diagramDrawing" Target="../diagrams/drawing18.xml"/><Relationship Id="rId1" Type="http://schemas.openxmlformats.org/officeDocument/2006/relationships/vmlDrawing" Target="../drawings/vmlDrawing22.vml"/><Relationship Id="rId6" Type="http://schemas.openxmlformats.org/officeDocument/2006/relationships/image" Target="../media/image3.emf"/><Relationship Id="rId11" Type="http://schemas.microsoft.com/office/2007/relationships/diagramDrawing" Target="../diagrams/drawing17.xml"/><Relationship Id="rId5" Type="http://schemas.openxmlformats.org/officeDocument/2006/relationships/oleObject" Target="../embeddings/oleObject22.bin"/><Relationship Id="rId15" Type="http://schemas.openxmlformats.org/officeDocument/2006/relationships/diagramColors" Target="../diagrams/colors18.xml"/><Relationship Id="rId10" Type="http://schemas.openxmlformats.org/officeDocument/2006/relationships/diagramColors" Target="../diagrams/colors17.xml"/><Relationship Id="rId4" Type="http://schemas.openxmlformats.org/officeDocument/2006/relationships/notesSlide" Target="../notesSlides/notesSlide19.xml"/><Relationship Id="rId9" Type="http://schemas.openxmlformats.org/officeDocument/2006/relationships/diagramQuickStyle" Target="../diagrams/quickStyle17.xml"/><Relationship Id="rId14" Type="http://schemas.openxmlformats.org/officeDocument/2006/relationships/diagramQuickStyle" Target="../diagrams/quickStyl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jpeg"/><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19.xml"/><Relationship Id="rId3" Type="http://schemas.openxmlformats.org/officeDocument/2006/relationships/slideLayout" Target="../slideLayouts/slideLayout3.xml"/><Relationship Id="rId7" Type="http://schemas.openxmlformats.org/officeDocument/2006/relationships/diagramData" Target="../diagrams/data19.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3.emf"/><Relationship Id="rId11" Type="http://schemas.microsoft.com/office/2007/relationships/diagramDrawing" Target="../diagrams/drawing19.xml"/><Relationship Id="rId5" Type="http://schemas.openxmlformats.org/officeDocument/2006/relationships/oleObject" Target="../embeddings/oleObject23.bin"/><Relationship Id="rId10" Type="http://schemas.openxmlformats.org/officeDocument/2006/relationships/diagramColors" Target="../diagrams/colors19.xml"/><Relationship Id="rId4" Type="http://schemas.openxmlformats.org/officeDocument/2006/relationships/notesSlide" Target="../notesSlides/notesSlide20.xml"/><Relationship Id="rId9" Type="http://schemas.openxmlformats.org/officeDocument/2006/relationships/diagramQuickStyle" Target="../diagrams/quickStyle19.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0.xml"/><Relationship Id="rId3" Type="http://schemas.openxmlformats.org/officeDocument/2006/relationships/slideLayout" Target="../slideLayouts/slideLayout3.xml"/><Relationship Id="rId7" Type="http://schemas.openxmlformats.org/officeDocument/2006/relationships/diagramData" Target="../diagrams/data20.xml"/><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3.emf"/><Relationship Id="rId11" Type="http://schemas.microsoft.com/office/2007/relationships/diagramDrawing" Target="../diagrams/drawing20.xml"/><Relationship Id="rId5" Type="http://schemas.openxmlformats.org/officeDocument/2006/relationships/oleObject" Target="../embeddings/oleObject24.bin"/><Relationship Id="rId10" Type="http://schemas.openxmlformats.org/officeDocument/2006/relationships/diagramColors" Target="../diagrams/colors20.xml"/><Relationship Id="rId4" Type="http://schemas.openxmlformats.org/officeDocument/2006/relationships/notesSlide" Target="../notesSlides/notesSlide21.xml"/><Relationship Id="rId9" Type="http://schemas.openxmlformats.org/officeDocument/2006/relationships/diagramQuickStyle" Target="../diagrams/quickStyle20.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21.xml"/><Relationship Id="rId3" Type="http://schemas.openxmlformats.org/officeDocument/2006/relationships/slideLayout" Target="../slideLayouts/slideLayout3.xml"/><Relationship Id="rId7" Type="http://schemas.openxmlformats.org/officeDocument/2006/relationships/diagramData" Target="../diagrams/data21.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3.emf"/><Relationship Id="rId11" Type="http://schemas.microsoft.com/office/2007/relationships/diagramDrawing" Target="../diagrams/drawing21.xml"/><Relationship Id="rId5" Type="http://schemas.openxmlformats.org/officeDocument/2006/relationships/oleObject" Target="../embeddings/oleObject25.bin"/><Relationship Id="rId10" Type="http://schemas.openxmlformats.org/officeDocument/2006/relationships/diagramColors" Target="../diagrams/colors21.xml"/><Relationship Id="rId4" Type="http://schemas.openxmlformats.org/officeDocument/2006/relationships/notesSlide" Target="../notesSlides/notesSlide22.xml"/><Relationship Id="rId9" Type="http://schemas.openxmlformats.org/officeDocument/2006/relationships/diagramQuickStyle" Target="../diagrams/quickStyle21.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2.xml"/><Relationship Id="rId3" Type="http://schemas.openxmlformats.org/officeDocument/2006/relationships/slideLayout" Target="../slideLayouts/slideLayout3.xml"/><Relationship Id="rId7" Type="http://schemas.openxmlformats.org/officeDocument/2006/relationships/diagramData" Target="../diagrams/data22.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3.emf"/><Relationship Id="rId11" Type="http://schemas.microsoft.com/office/2007/relationships/diagramDrawing" Target="../diagrams/drawing22.xml"/><Relationship Id="rId5" Type="http://schemas.openxmlformats.org/officeDocument/2006/relationships/oleObject" Target="../embeddings/oleObject26.bin"/><Relationship Id="rId10" Type="http://schemas.openxmlformats.org/officeDocument/2006/relationships/diagramColors" Target="../diagrams/colors22.xml"/><Relationship Id="rId4" Type="http://schemas.openxmlformats.org/officeDocument/2006/relationships/notesSlide" Target="../notesSlides/notesSlide23.xml"/><Relationship Id="rId9" Type="http://schemas.openxmlformats.org/officeDocument/2006/relationships/diagramQuickStyle" Target="../diagrams/quickStyle22.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23.xml"/><Relationship Id="rId3" Type="http://schemas.openxmlformats.org/officeDocument/2006/relationships/slideLayout" Target="../slideLayouts/slideLayout3.xml"/><Relationship Id="rId7" Type="http://schemas.openxmlformats.org/officeDocument/2006/relationships/diagramData" Target="../diagrams/data23.xml"/><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3.emf"/><Relationship Id="rId11" Type="http://schemas.microsoft.com/office/2007/relationships/diagramDrawing" Target="../diagrams/drawing23.xml"/><Relationship Id="rId5" Type="http://schemas.openxmlformats.org/officeDocument/2006/relationships/oleObject" Target="../embeddings/oleObject27.bin"/><Relationship Id="rId10" Type="http://schemas.openxmlformats.org/officeDocument/2006/relationships/diagramColors" Target="../diagrams/colors23.xml"/><Relationship Id="rId4" Type="http://schemas.openxmlformats.org/officeDocument/2006/relationships/notesSlide" Target="../notesSlides/notesSlide24.xml"/><Relationship Id="rId9" Type="http://schemas.openxmlformats.org/officeDocument/2006/relationships/diagramQuickStyle" Target="../diagrams/quickStyl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1.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24.xml"/><Relationship Id="rId3" Type="http://schemas.openxmlformats.org/officeDocument/2006/relationships/slideLayout" Target="../slideLayouts/slideLayout3.xml"/><Relationship Id="rId7" Type="http://schemas.openxmlformats.org/officeDocument/2006/relationships/diagramData" Target="../diagrams/data24.xml"/><Relationship Id="rId2" Type="http://schemas.openxmlformats.org/officeDocument/2006/relationships/tags" Target="../tags/tag52.xml"/><Relationship Id="rId1" Type="http://schemas.openxmlformats.org/officeDocument/2006/relationships/vmlDrawing" Target="../drawings/vmlDrawing31.vml"/><Relationship Id="rId6" Type="http://schemas.openxmlformats.org/officeDocument/2006/relationships/image" Target="../media/image3.emf"/><Relationship Id="rId11" Type="http://schemas.microsoft.com/office/2007/relationships/diagramDrawing" Target="../diagrams/drawing24.xml"/><Relationship Id="rId5" Type="http://schemas.openxmlformats.org/officeDocument/2006/relationships/oleObject" Target="../embeddings/oleObject31.bin"/><Relationship Id="rId10" Type="http://schemas.openxmlformats.org/officeDocument/2006/relationships/diagramColors" Target="../diagrams/colors24.xml"/><Relationship Id="rId4" Type="http://schemas.openxmlformats.org/officeDocument/2006/relationships/notesSlide" Target="../notesSlides/notesSlide28.xml"/><Relationship Id="rId9" Type="http://schemas.openxmlformats.org/officeDocument/2006/relationships/diagramQuickStyle" Target="../diagrams/quickStyle24.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25.xml"/><Relationship Id="rId3" Type="http://schemas.openxmlformats.org/officeDocument/2006/relationships/slideLayout" Target="../slideLayouts/slideLayout3.xml"/><Relationship Id="rId7" Type="http://schemas.openxmlformats.org/officeDocument/2006/relationships/diagramData" Target="../diagrams/data25.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3.emf"/><Relationship Id="rId11" Type="http://schemas.microsoft.com/office/2007/relationships/diagramDrawing" Target="../diagrams/drawing25.xml"/><Relationship Id="rId5" Type="http://schemas.openxmlformats.org/officeDocument/2006/relationships/oleObject" Target="../embeddings/oleObject32.bin"/><Relationship Id="rId10" Type="http://schemas.openxmlformats.org/officeDocument/2006/relationships/diagramColors" Target="../diagrams/colors25.xml"/><Relationship Id="rId4" Type="http://schemas.openxmlformats.org/officeDocument/2006/relationships/notesSlide" Target="../notesSlides/notesSlide29.xml"/><Relationship Id="rId9" Type="http://schemas.openxmlformats.org/officeDocument/2006/relationships/diagramQuickStyle" Target="../diagrams/quickStyle25.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3.xml"/><Relationship Id="rId7" Type="http://schemas.openxmlformats.org/officeDocument/2006/relationships/diagramData" Target="../diagrams/data1.xml"/><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image" Target="../media/image3.emf"/><Relationship Id="rId11" Type="http://schemas.microsoft.com/office/2007/relationships/diagramDrawing" Target="../diagrams/drawing1.xml"/><Relationship Id="rId5" Type="http://schemas.openxmlformats.org/officeDocument/2006/relationships/oleObject" Target="../embeddings/oleObject6.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26.xml"/><Relationship Id="rId3" Type="http://schemas.openxmlformats.org/officeDocument/2006/relationships/slideLayout" Target="../slideLayouts/slideLayout3.xml"/><Relationship Id="rId7" Type="http://schemas.openxmlformats.org/officeDocument/2006/relationships/diagramData" Target="../diagrams/data26.xml"/><Relationship Id="rId2" Type="http://schemas.openxmlformats.org/officeDocument/2006/relationships/tags" Target="../tags/tag54.xml"/><Relationship Id="rId1" Type="http://schemas.openxmlformats.org/officeDocument/2006/relationships/vmlDrawing" Target="../drawings/vmlDrawing33.vml"/><Relationship Id="rId6" Type="http://schemas.openxmlformats.org/officeDocument/2006/relationships/image" Target="../media/image3.emf"/><Relationship Id="rId11" Type="http://schemas.microsoft.com/office/2007/relationships/diagramDrawing" Target="../diagrams/drawing26.xml"/><Relationship Id="rId5" Type="http://schemas.openxmlformats.org/officeDocument/2006/relationships/oleObject" Target="../embeddings/oleObject33.bin"/><Relationship Id="rId10" Type="http://schemas.openxmlformats.org/officeDocument/2006/relationships/diagramColors" Target="../diagrams/colors26.xml"/><Relationship Id="rId4" Type="http://schemas.openxmlformats.org/officeDocument/2006/relationships/notesSlide" Target="../notesSlides/notesSlide30.xml"/><Relationship Id="rId9" Type="http://schemas.openxmlformats.org/officeDocument/2006/relationships/diagramQuickStyle" Target="../diagrams/quickStyle26.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27.xml"/><Relationship Id="rId3" Type="http://schemas.openxmlformats.org/officeDocument/2006/relationships/slideLayout" Target="../slideLayouts/slideLayout3.xml"/><Relationship Id="rId7" Type="http://schemas.openxmlformats.org/officeDocument/2006/relationships/diagramData" Target="../diagrams/data27.xml"/><Relationship Id="rId2" Type="http://schemas.openxmlformats.org/officeDocument/2006/relationships/tags" Target="../tags/tag55.xml"/><Relationship Id="rId1" Type="http://schemas.openxmlformats.org/officeDocument/2006/relationships/vmlDrawing" Target="../drawings/vmlDrawing34.vml"/><Relationship Id="rId6" Type="http://schemas.openxmlformats.org/officeDocument/2006/relationships/image" Target="../media/image3.emf"/><Relationship Id="rId11" Type="http://schemas.microsoft.com/office/2007/relationships/diagramDrawing" Target="../diagrams/drawing27.xml"/><Relationship Id="rId5" Type="http://schemas.openxmlformats.org/officeDocument/2006/relationships/oleObject" Target="../embeddings/oleObject34.bin"/><Relationship Id="rId10" Type="http://schemas.openxmlformats.org/officeDocument/2006/relationships/diagramColors" Target="../diagrams/colors27.xml"/><Relationship Id="rId4" Type="http://schemas.openxmlformats.org/officeDocument/2006/relationships/notesSlide" Target="../notesSlides/notesSlide31.xml"/><Relationship Id="rId9" Type="http://schemas.openxmlformats.org/officeDocument/2006/relationships/diagramQuickStyle" Target="../diagrams/quickStyle27.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28.xml"/><Relationship Id="rId3" Type="http://schemas.openxmlformats.org/officeDocument/2006/relationships/slideLayout" Target="../slideLayouts/slideLayout3.xml"/><Relationship Id="rId7" Type="http://schemas.openxmlformats.org/officeDocument/2006/relationships/diagramData" Target="../diagrams/data28.xml"/><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3.emf"/><Relationship Id="rId11" Type="http://schemas.microsoft.com/office/2007/relationships/diagramDrawing" Target="../diagrams/drawing28.xml"/><Relationship Id="rId5" Type="http://schemas.openxmlformats.org/officeDocument/2006/relationships/oleObject" Target="../embeddings/oleObject35.bin"/><Relationship Id="rId10" Type="http://schemas.openxmlformats.org/officeDocument/2006/relationships/diagramColors" Target="../diagrams/colors28.xml"/><Relationship Id="rId4" Type="http://schemas.openxmlformats.org/officeDocument/2006/relationships/notesSlide" Target="../notesSlides/notesSlide32.xml"/><Relationship Id="rId9" Type="http://schemas.openxmlformats.org/officeDocument/2006/relationships/diagramQuickStyle" Target="../diagrams/quickStyle28.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29.xml"/><Relationship Id="rId13" Type="http://schemas.openxmlformats.org/officeDocument/2006/relationships/diagramLayout" Target="../diagrams/layout30.xml"/><Relationship Id="rId3" Type="http://schemas.openxmlformats.org/officeDocument/2006/relationships/slideLayout" Target="../slideLayouts/slideLayout3.xml"/><Relationship Id="rId7" Type="http://schemas.openxmlformats.org/officeDocument/2006/relationships/diagramData" Target="../diagrams/data29.xml"/><Relationship Id="rId12" Type="http://schemas.openxmlformats.org/officeDocument/2006/relationships/diagramData" Target="../diagrams/data30.xml"/><Relationship Id="rId2" Type="http://schemas.openxmlformats.org/officeDocument/2006/relationships/tags" Target="../tags/tag57.xml"/><Relationship Id="rId16" Type="http://schemas.microsoft.com/office/2007/relationships/diagramDrawing" Target="../diagrams/drawing30.xml"/><Relationship Id="rId1" Type="http://schemas.openxmlformats.org/officeDocument/2006/relationships/vmlDrawing" Target="../drawings/vmlDrawing36.vml"/><Relationship Id="rId6" Type="http://schemas.openxmlformats.org/officeDocument/2006/relationships/image" Target="../media/image3.emf"/><Relationship Id="rId11" Type="http://schemas.microsoft.com/office/2007/relationships/diagramDrawing" Target="../diagrams/drawing29.xml"/><Relationship Id="rId5" Type="http://schemas.openxmlformats.org/officeDocument/2006/relationships/oleObject" Target="../embeddings/oleObject36.bin"/><Relationship Id="rId15" Type="http://schemas.openxmlformats.org/officeDocument/2006/relationships/diagramColors" Target="../diagrams/colors30.xml"/><Relationship Id="rId10" Type="http://schemas.openxmlformats.org/officeDocument/2006/relationships/diagramColors" Target="../diagrams/colors29.xml"/><Relationship Id="rId4" Type="http://schemas.openxmlformats.org/officeDocument/2006/relationships/notesSlide" Target="../notesSlides/notesSlide33.xml"/><Relationship Id="rId9" Type="http://schemas.openxmlformats.org/officeDocument/2006/relationships/diagramQuickStyle" Target="../diagrams/quickStyle29.xml"/><Relationship Id="rId14" Type="http://schemas.openxmlformats.org/officeDocument/2006/relationships/diagramQuickStyle" Target="../diagrams/quickStyle3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31.xml"/><Relationship Id="rId3" Type="http://schemas.openxmlformats.org/officeDocument/2006/relationships/slideLayout" Target="../slideLayouts/slideLayout3.xml"/><Relationship Id="rId7" Type="http://schemas.openxmlformats.org/officeDocument/2006/relationships/diagramData" Target="../diagrams/data31.xml"/><Relationship Id="rId2" Type="http://schemas.openxmlformats.org/officeDocument/2006/relationships/tags" Target="../tags/tag59.xml"/><Relationship Id="rId1" Type="http://schemas.openxmlformats.org/officeDocument/2006/relationships/vmlDrawing" Target="../drawings/vmlDrawing38.vml"/><Relationship Id="rId6" Type="http://schemas.openxmlformats.org/officeDocument/2006/relationships/image" Target="../media/image3.emf"/><Relationship Id="rId11" Type="http://schemas.microsoft.com/office/2007/relationships/diagramDrawing" Target="../diagrams/drawing31.xml"/><Relationship Id="rId5" Type="http://schemas.openxmlformats.org/officeDocument/2006/relationships/oleObject" Target="../embeddings/oleObject38.bin"/><Relationship Id="rId10" Type="http://schemas.openxmlformats.org/officeDocument/2006/relationships/diagramColors" Target="../diagrams/colors31.xml"/><Relationship Id="rId4" Type="http://schemas.openxmlformats.org/officeDocument/2006/relationships/notesSlide" Target="../notesSlides/notesSlide35.xml"/><Relationship Id="rId9" Type="http://schemas.openxmlformats.org/officeDocument/2006/relationships/diagramQuickStyle" Target="../diagrams/quickStyle31.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32.xml"/><Relationship Id="rId3" Type="http://schemas.openxmlformats.org/officeDocument/2006/relationships/slideLayout" Target="../slideLayouts/slideLayout3.xml"/><Relationship Id="rId7" Type="http://schemas.openxmlformats.org/officeDocument/2006/relationships/diagramData" Target="../diagrams/data32.xml"/><Relationship Id="rId2" Type="http://schemas.openxmlformats.org/officeDocument/2006/relationships/tags" Target="../tags/tag60.xml"/><Relationship Id="rId1" Type="http://schemas.openxmlformats.org/officeDocument/2006/relationships/vmlDrawing" Target="../drawings/vmlDrawing39.vml"/><Relationship Id="rId6" Type="http://schemas.openxmlformats.org/officeDocument/2006/relationships/image" Target="../media/image3.emf"/><Relationship Id="rId11" Type="http://schemas.microsoft.com/office/2007/relationships/diagramDrawing" Target="../diagrams/drawing32.xml"/><Relationship Id="rId5" Type="http://schemas.openxmlformats.org/officeDocument/2006/relationships/oleObject" Target="../embeddings/oleObject39.bin"/><Relationship Id="rId10" Type="http://schemas.openxmlformats.org/officeDocument/2006/relationships/diagramColors" Target="../diagrams/colors32.xml"/><Relationship Id="rId4" Type="http://schemas.openxmlformats.org/officeDocument/2006/relationships/notesSlide" Target="../notesSlides/notesSlide36.xml"/><Relationship Id="rId9" Type="http://schemas.openxmlformats.org/officeDocument/2006/relationships/diagramQuickStyle" Target="../diagrams/quickStyle3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33.xml"/><Relationship Id="rId3" Type="http://schemas.openxmlformats.org/officeDocument/2006/relationships/slideLayout" Target="../slideLayouts/slideLayout3.xml"/><Relationship Id="rId7" Type="http://schemas.openxmlformats.org/officeDocument/2006/relationships/diagramData" Target="../diagrams/data33.xml"/><Relationship Id="rId2" Type="http://schemas.openxmlformats.org/officeDocument/2006/relationships/tags" Target="../tags/tag62.xml"/><Relationship Id="rId1" Type="http://schemas.openxmlformats.org/officeDocument/2006/relationships/vmlDrawing" Target="../drawings/vmlDrawing41.vml"/><Relationship Id="rId6" Type="http://schemas.openxmlformats.org/officeDocument/2006/relationships/image" Target="../media/image3.emf"/><Relationship Id="rId11" Type="http://schemas.microsoft.com/office/2007/relationships/diagramDrawing" Target="../diagrams/drawing33.xml"/><Relationship Id="rId5" Type="http://schemas.openxmlformats.org/officeDocument/2006/relationships/oleObject" Target="../embeddings/oleObject41.bin"/><Relationship Id="rId10" Type="http://schemas.openxmlformats.org/officeDocument/2006/relationships/diagramColors" Target="../diagrams/colors33.xml"/><Relationship Id="rId4" Type="http://schemas.openxmlformats.org/officeDocument/2006/relationships/notesSlide" Target="../notesSlides/notesSlide38.xml"/><Relationship Id="rId9" Type="http://schemas.openxmlformats.org/officeDocument/2006/relationships/diagramQuickStyle" Target="../diagrams/quickStyle33.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34.xml"/><Relationship Id="rId3" Type="http://schemas.openxmlformats.org/officeDocument/2006/relationships/slideLayout" Target="../slideLayouts/slideLayout3.xml"/><Relationship Id="rId7" Type="http://schemas.openxmlformats.org/officeDocument/2006/relationships/diagramData" Target="../diagrams/data34.xml"/><Relationship Id="rId2" Type="http://schemas.openxmlformats.org/officeDocument/2006/relationships/tags" Target="../tags/tag63.xml"/><Relationship Id="rId1" Type="http://schemas.openxmlformats.org/officeDocument/2006/relationships/vmlDrawing" Target="../drawings/vmlDrawing42.vml"/><Relationship Id="rId6" Type="http://schemas.openxmlformats.org/officeDocument/2006/relationships/image" Target="../media/image3.emf"/><Relationship Id="rId11" Type="http://schemas.microsoft.com/office/2007/relationships/diagramDrawing" Target="../diagrams/drawing34.xml"/><Relationship Id="rId5" Type="http://schemas.openxmlformats.org/officeDocument/2006/relationships/oleObject" Target="../embeddings/oleObject42.bin"/><Relationship Id="rId10" Type="http://schemas.openxmlformats.org/officeDocument/2006/relationships/diagramColors" Target="../diagrams/colors34.xml"/><Relationship Id="rId4" Type="http://schemas.openxmlformats.org/officeDocument/2006/relationships/notesSlide" Target="../notesSlides/notesSlide39.xml"/><Relationship Id="rId9" Type="http://schemas.openxmlformats.org/officeDocument/2006/relationships/diagramQuickStyle" Target="../diagrams/quickStyle3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3.xml"/><Relationship Id="rId7" Type="http://schemas.openxmlformats.org/officeDocument/2006/relationships/diagramData" Target="../diagrams/data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3.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4.xml"/><Relationship Id="rId9"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35.xml"/><Relationship Id="rId3" Type="http://schemas.openxmlformats.org/officeDocument/2006/relationships/slideLayout" Target="../slideLayouts/slideLayout3.xml"/><Relationship Id="rId7" Type="http://schemas.openxmlformats.org/officeDocument/2006/relationships/diagramData" Target="../diagrams/data35.xml"/><Relationship Id="rId2" Type="http://schemas.openxmlformats.org/officeDocument/2006/relationships/tags" Target="../tags/tag64.xml"/><Relationship Id="rId1" Type="http://schemas.openxmlformats.org/officeDocument/2006/relationships/vmlDrawing" Target="../drawings/vmlDrawing43.vml"/><Relationship Id="rId6" Type="http://schemas.openxmlformats.org/officeDocument/2006/relationships/image" Target="../media/image3.emf"/><Relationship Id="rId11" Type="http://schemas.microsoft.com/office/2007/relationships/diagramDrawing" Target="../diagrams/drawing35.xml"/><Relationship Id="rId5" Type="http://schemas.openxmlformats.org/officeDocument/2006/relationships/oleObject" Target="../embeddings/oleObject43.bin"/><Relationship Id="rId10" Type="http://schemas.openxmlformats.org/officeDocument/2006/relationships/diagramColors" Target="../diagrams/colors35.xml"/><Relationship Id="rId4" Type="http://schemas.openxmlformats.org/officeDocument/2006/relationships/notesSlide" Target="../notesSlides/notesSlide40.xml"/><Relationship Id="rId9" Type="http://schemas.openxmlformats.org/officeDocument/2006/relationships/diagramQuickStyle" Target="../diagrams/quickStyle35.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36.xml"/><Relationship Id="rId3" Type="http://schemas.openxmlformats.org/officeDocument/2006/relationships/slideLayout" Target="../slideLayouts/slideLayout3.xml"/><Relationship Id="rId7" Type="http://schemas.openxmlformats.org/officeDocument/2006/relationships/diagramData" Target="../diagrams/data36.xml"/><Relationship Id="rId2" Type="http://schemas.openxmlformats.org/officeDocument/2006/relationships/tags" Target="../tags/tag65.xml"/><Relationship Id="rId1" Type="http://schemas.openxmlformats.org/officeDocument/2006/relationships/vmlDrawing" Target="../drawings/vmlDrawing44.vml"/><Relationship Id="rId6" Type="http://schemas.openxmlformats.org/officeDocument/2006/relationships/image" Target="../media/image3.emf"/><Relationship Id="rId11" Type="http://schemas.microsoft.com/office/2007/relationships/diagramDrawing" Target="../diagrams/drawing36.xml"/><Relationship Id="rId5" Type="http://schemas.openxmlformats.org/officeDocument/2006/relationships/oleObject" Target="../embeddings/oleObject44.bin"/><Relationship Id="rId10" Type="http://schemas.openxmlformats.org/officeDocument/2006/relationships/diagramColors" Target="../diagrams/colors36.xml"/><Relationship Id="rId4" Type="http://schemas.openxmlformats.org/officeDocument/2006/relationships/notesSlide" Target="../notesSlides/notesSlide41.xml"/><Relationship Id="rId9" Type="http://schemas.openxmlformats.org/officeDocument/2006/relationships/diagramQuickStyle" Target="../diagrams/quickStyle3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diagramLayout" Target="../diagrams/layout37.xml"/><Relationship Id="rId3" Type="http://schemas.openxmlformats.org/officeDocument/2006/relationships/slideLayout" Target="../slideLayouts/slideLayout3.xml"/><Relationship Id="rId7" Type="http://schemas.openxmlformats.org/officeDocument/2006/relationships/diagramData" Target="../diagrams/data37.xml"/><Relationship Id="rId2" Type="http://schemas.openxmlformats.org/officeDocument/2006/relationships/tags" Target="../tags/tag67.xml"/><Relationship Id="rId1" Type="http://schemas.openxmlformats.org/officeDocument/2006/relationships/vmlDrawing" Target="../drawings/vmlDrawing46.vml"/><Relationship Id="rId6" Type="http://schemas.openxmlformats.org/officeDocument/2006/relationships/image" Target="../media/image3.emf"/><Relationship Id="rId11" Type="http://schemas.microsoft.com/office/2007/relationships/diagramDrawing" Target="../diagrams/drawing37.xml"/><Relationship Id="rId5" Type="http://schemas.openxmlformats.org/officeDocument/2006/relationships/oleObject" Target="../embeddings/oleObject46.bin"/><Relationship Id="rId10" Type="http://schemas.openxmlformats.org/officeDocument/2006/relationships/diagramColors" Target="../diagrams/colors37.xml"/><Relationship Id="rId4" Type="http://schemas.openxmlformats.org/officeDocument/2006/relationships/notesSlide" Target="../notesSlides/notesSlide43.xml"/><Relationship Id="rId9" Type="http://schemas.openxmlformats.org/officeDocument/2006/relationships/diagramQuickStyle" Target="../diagrams/quickStyle37.xml"/></Relationships>
</file>

<file path=ppt/slides/_rels/slide4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image" Target="../media/image10.png"/><Relationship Id="rId2" Type="http://schemas.openxmlformats.org/officeDocument/2006/relationships/tags" Target="../tags/tag68.xml"/><Relationship Id="rId1" Type="http://schemas.openxmlformats.org/officeDocument/2006/relationships/vmlDrawing" Target="../drawings/vmlDrawing47.vml"/><Relationship Id="rId6" Type="http://schemas.openxmlformats.org/officeDocument/2006/relationships/image" Target="../media/image3.emf"/><Relationship Id="rId5" Type="http://schemas.openxmlformats.org/officeDocument/2006/relationships/oleObject" Target="../embeddings/oleObject47.bin"/><Relationship Id="rId10" Type="http://schemas.openxmlformats.org/officeDocument/2006/relationships/image" Target="../media/image13.wmf"/><Relationship Id="rId4" Type="http://schemas.openxmlformats.org/officeDocument/2006/relationships/notesSlide" Target="../notesSlides/notesSlide44.xml"/><Relationship Id="rId9" Type="http://schemas.openxmlformats.org/officeDocument/2006/relationships/image" Target="../media/image12.wmf"/></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38.xml"/><Relationship Id="rId3" Type="http://schemas.openxmlformats.org/officeDocument/2006/relationships/slideLayout" Target="../slideLayouts/slideLayout3.xml"/><Relationship Id="rId7" Type="http://schemas.openxmlformats.org/officeDocument/2006/relationships/diagramData" Target="../diagrams/data38.xml"/><Relationship Id="rId2" Type="http://schemas.openxmlformats.org/officeDocument/2006/relationships/tags" Target="../tags/tag69.xml"/><Relationship Id="rId1" Type="http://schemas.openxmlformats.org/officeDocument/2006/relationships/vmlDrawing" Target="../drawings/vmlDrawing48.vml"/><Relationship Id="rId6" Type="http://schemas.openxmlformats.org/officeDocument/2006/relationships/image" Target="../media/image3.emf"/><Relationship Id="rId11" Type="http://schemas.microsoft.com/office/2007/relationships/diagramDrawing" Target="../diagrams/drawing38.xml"/><Relationship Id="rId5" Type="http://schemas.openxmlformats.org/officeDocument/2006/relationships/oleObject" Target="../embeddings/oleObject48.bin"/><Relationship Id="rId10" Type="http://schemas.openxmlformats.org/officeDocument/2006/relationships/diagramColors" Target="../diagrams/colors38.xml"/><Relationship Id="rId4" Type="http://schemas.openxmlformats.org/officeDocument/2006/relationships/notesSlide" Target="../notesSlides/notesSlide45.xml"/><Relationship Id="rId9" Type="http://schemas.openxmlformats.org/officeDocument/2006/relationships/diagramQuickStyle" Target="../diagrams/quickStyle38.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3.xml"/><Relationship Id="rId7" Type="http://schemas.openxmlformats.org/officeDocument/2006/relationships/diagramData" Target="../diagrams/data3.xml"/><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image" Target="../media/image3.emf"/><Relationship Id="rId11" Type="http://schemas.microsoft.com/office/2007/relationships/diagramDrawing" Target="../diagrams/drawing3.xml"/><Relationship Id="rId5" Type="http://schemas.openxmlformats.org/officeDocument/2006/relationships/oleObject" Target="../embeddings/oleObject8.bin"/><Relationship Id="rId10" Type="http://schemas.openxmlformats.org/officeDocument/2006/relationships/diagramColors" Target="../diagrams/colors3.xml"/><Relationship Id="rId4" Type="http://schemas.openxmlformats.org/officeDocument/2006/relationships/notesSlide" Target="../notesSlides/notesSlide5.xml"/><Relationship Id="rId9"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3.xml"/><Relationship Id="rId7" Type="http://schemas.openxmlformats.org/officeDocument/2006/relationships/diagramData" Target="../diagrams/data4.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3.emf"/><Relationship Id="rId11" Type="http://schemas.microsoft.com/office/2007/relationships/diagramDrawing" Target="../diagrams/drawing4.xml"/><Relationship Id="rId5" Type="http://schemas.openxmlformats.org/officeDocument/2006/relationships/oleObject" Target="../embeddings/oleObject9.bin"/><Relationship Id="rId10" Type="http://schemas.openxmlformats.org/officeDocument/2006/relationships/diagramColors" Target="../diagrams/colors4.xml"/><Relationship Id="rId4" Type="http://schemas.openxmlformats.org/officeDocument/2006/relationships/notesSlide" Target="../notesSlides/notesSlide6.xml"/><Relationship Id="rId9"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3.xml"/><Relationship Id="rId7" Type="http://schemas.openxmlformats.org/officeDocument/2006/relationships/diagramData" Target="../diagrams/data5.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3.emf"/><Relationship Id="rId11" Type="http://schemas.microsoft.com/office/2007/relationships/diagramDrawing" Target="../diagrams/drawing5.xml"/><Relationship Id="rId5" Type="http://schemas.openxmlformats.org/officeDocument/2006/relationships/oleObject" Target="../embeddings/oleObject10.bin"/><Relationship Id="rId10" Type="http://schemas.openxmlformats.org/officeDocument/2006/relationships/diagramColors" Target="../diagrams/colors5.xml"/><Relationship Id="rId4" Type="http://schemas.openxmlformats.org/officeDocument/2006/relationships/notesSlide" Target="../notesSlides/notesSlide7.xml"/><Relationship Id="rId9"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3.xml"/><Relationship Id="rId7" Type="http://schemas.openxmlformats.org/officeDocument/2006/relationships/diagramData" Target="../diagrams/data6.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image" Target="../media/image3.emf"/><Relationship Id="rId11" Type="http://schemas.microsoft.com/office/2007/relationships/diagramDrawing" Target="../diagrams/drawing6.xml"/><Relationship Id="rId5" Type="http://schemas.openxmlformats.org/officeDocument/2006/relationships/oleObject" Target="../embeddings/oleObject11.bin"/><Relationship Id="rId10" Type="http://schemas.openxmlformats.org/officeDocument/2006/relationships/diagramColors" Target="../diagrams/colors6.xml"/><Relationship Id="rId4" Type="http://schemas.openxmlformats.org/officeDocument/2006/relationships/notesSlide" Target="../notesSlides/notesSlide8.xml"/><Relationship Id="rId9"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3.xml"/><Relationship Id="rId7" Type="http://schemas.openxmlformats.org/officeDocument/2006/relationships/diagramData" Target="../diagrams/data7.xml"/><Relationship Id="rId2" Type="http://schemas.openxmlformats.org/officeDocument/2006/relationships/tags" Target="../tags/tag33.xml"/><Relationship Id="rId1" Type="http://schemas.openxmlformats.org/officeDocument/2006/relationships/vmlDrawing" Target="../drawings/vmlDrawing12.vml"/><Relationship Id="rId6" Type="http://schemas.openxmlformats.org/officeDocument/2006/relationships/image" Target="../media/image3.emf"/><Relationship Id="rId11" Type="http://schemas.microsoft.com/office/2007/relationships/diagramDrawing" Target="../diagrams/drawing7.xml"/><Relationship Id="rId5" Type="http://schemas.openxmlformats.org/officeDocument/2006/relationships/oleObject" Target="../embeddings/oleObject12.bin"/><Relationship Id="rId10" Type="http://schemas.openxmlformats.org/officeDocument/2006/relationships/diagramColors" Target="../diagrams/colors7.xml"/><Relationship Id="rId4" Type="http://schemas.openxmlformats.org/officeDocument/2006/relationships/notesSlide" Target="../notesSlides/notesSlide9.xml"/><Relationship Id="rId9"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263769"/>
          <a:ext cx="146538" cy="146538"/>
        </p:xfrm>
        <a:graphic>
          <a:graphicData uri="http://schemas.openxmlformats.org/presentationml/2006/ole">
            <mc:AlternateContent xmlns:mc="http://schemas.openxmlformats.org/markup-compatibility/2006">
              <mc:Choice xmlns:v="urn:schemas-microsoft-com:vml" Requires="v">
                <p:oleObj spid="_x0000_s247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idx="4294967295"/>
            <p:custDataLst>
              <p:tags r:id="rId3"/>
            </p:custDataLst>
          </p:nvPr>
        </p:nvSpPr>
        <p:spPr>
          <a:xfrm>
            <a:off x="393895" y="3063779"/>
            <a:ext cx="3137095" cy="889244"/>
          </a:xfrm>
        </p:spPr>
        <p:txBody>
          <a:bodyPr/>
          <a:lstStyle/>
          <a:p>
            <a:r>
              <a:rPr lang="en-US" dirty="0" smtClean="0"/>
              <a:t>MongoDB – CRUD</a:t>
            </a:r>
            <a:endParaRPr lang="en-US" dirty="0"/>
          </a:p>
        </p:txBody>
      </p:sp>
    </p:spTree>
    <p:extLst>
      <p:ext uri="{BB962C8B-B14F-4D97-AF65-F5344CB8AC3E}">
        <p14:creationId xmlns:p14="http://schemas.microsoft.com/office/powerpoint/2010/main" val="126940217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18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55585" y="277837"/>
            <a:ext cx="7349924" cy="905287"/>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pdating </a:t>
            </a:r>
            <a:r>
              <a:rPr lang="en-US" sz="2400" dirty="0" smtClean="0">
                <a:solidFill>
                  <a:schemeClr val="tx2"/>
                </a:solidFill>
              </a:rPr>
              <a:t>Documents-Update </a:t>
            </a:r>
            <a:r>
              <a:rPr lang="en-US" sz="2400" dirty="0">
                <a:solidFill>
                  <a:schemeClr val="tx2"/>
                </a:solidFill>
              </a:rPr>
              <a:t>Example </a:t>
            </a:r>
          </a:p>
        </p:txBody>
      </p:sp>
      <p:graphicFrame>
        <p:nvGraphicFramePr>
          <p:cNvPr id="7" name="Diagram 6"/>
          <p:cNvGraphicFramePr/>
          <p:nvPr>
            <p:extLst>
              <p:ext uri="{D42A27DB-BD31-4B8C-83A1-F6EECF244321}">
                <p14:modId xmlns:p14="http://schemas.microsoft.com/office/powerpoint/2010/main" val="264805339"/>
              </p:ext>
            </p:extLst>
          </p:nvPr>
        </p:nvGraphicFramePr>
        <p:xfrm>
          <a:off x="893624" y="1441316"/>
          <a:ext cx="7544320" cy="38714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215145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29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847579"/>
          </a:xfrm>
          <a:prstGeom prst="rect">
            <a:avLst/>
          </a:prstGeom>
        </p:spPr>
        <p:txBody>
          <a:bodyPr vert="horz" lIns="274642" tIns="30516" rIns="152579" bIns="30516" rtlCol="0" anchor="ctr">
            <a:noAutofit/>
          </a:bodyPr>
          <a:lstStyle/>
          <a:p>
            <a:pPr defTabSz="844029">
              <a:spcBef>
                <a:spcPct val="0"/>
              </a:spcBef>
            </a:pPr>
            <a:r>
              <a:rPr lang="en-US" sz="3200" dirty="0">
                <a:solidFill>
                  <a:schemeClr val="accent1"/>
                </a:solidFill>
              </a:rPr>
              <a:t>Updating Documents- </a:t>
            </a:r>
          </a:p>
          <a:p>
            <a:pPr defTabSz="844029">
              <a:spcBef>
                <a:spcPct val="0"/>
              </a:spcBef>
            </a:pPr>
            <a:r>
              <a:rPr lang="en-US" sz="3200" dirty="0" smtClean="0">
                <a:solidFill>
                  <a:schemeClr val="accent1"/>
                </a:solidFill>
              </a:rPr>
              <a:t>Upsert </a:t>
            </a:r>
            <a:endParaRPr lang="en-US" sz="3200" dirty="0">
              <a:solidFill>
                <a:schemeClr val="accent1"/>
              </a:solidFill>
            </a:endParaRPr>
          </a:p>
        </p:txBody>
      </p:sp>
      <p:graphicFrame>
        <p:nvGraphicFramePr>
          <p:cNvPr id="7" name="Diagram 6"/>
          <p:cNvGraphicFramePr/>
          <p:nvPr>
            <p:extLst>
              <p:ext uri="{D42A27DB-BD31-4B8C-83A1-F6EECF244321}">
                <p14:modId xmlns:p14="http://schemas.microsoft.com/office/powerpoint/2010/main" val="3558651120"/>
              </p:ext>
            </p:extLst>
          </p:nvPr>
        </p:nvGraphicFramePr>
        <p:xfrm>
          <a:off x="620349" y="1763192"/>
          <a:ext cx="8076795" cy="45423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124201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92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114865"/>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Updating Documents- </a:t>
            </a:r>
          </a:p>
          <a:p>
            <a:pPr defTabSz="844029">
              <a:spcBef>
                <a:spcPct val="0"/>
              </a:spcBef>
            </a:pPr>
            <a:r>
              <a:rPr lang="en-US" sz="3200" dirty="0" smtClean="0">
                <a:solidFill>
                  <a:schemeClr val="tx2"/>
                </a:solidFill>
              </a:rPr>
              <a:t>Behavior </a:t>
            </a:r>
            <a:r>
              <a:rPr lang="en-US" sz="3200" dirty="0">
                <a:solidFill>
                  <a:schemeClr val="tx2"/>
                </a:solidFill>
              </a:rPr>
              <a:t>of Upsert </a:t>
            </a:r>
          </a:p>
        </p:txBody>
      </p:sp>
      <p:graphicFrame>
        <p:nvGraphicFramePr>
          <p:cNvPr id="7" name="Diagram 6"/>
          <p:cNvGraphicFramePr/>
          <p:nvPr>
            <p:extLst>
              <p:ext uri="{D42A27DB-BD31-4B8C-83A1-F6EECF244321}">
                <p14:modId xmlns:p14="http://schemas.microsoft.com/office/powerpoint/2010/main" val="628387590"/>
              </p:ext>
            </p:extLst>
          </p:nvPr>
        </p:nvGraphicFramePr>
        <p:xfrm>
          <a:off x="1116522" y="1702608"/>
          <a:ext cx="6872957"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341650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69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t>
            </a:r>
          </a:p>
          <a:p>
            <a:pPr defTabSz="844029">
              <a:spcBef>
                <a:spcPct val="0"/>
              </a:spcBef>
            </a:pPr>
            <a:r>
              <a:rPr lang="en-US" sz="3200" dirty="0" smtClean="0">
                <a:solidFill>
                  <a:schemeClr val="tx2"/>
                </a:solidFill>
              </a:rPr>
              <a:t>Query Using Modifiers </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3883349071"/>
              </p:ext>
            </p:extLst>
          </p:nvPr>
        </p:nvGraphicFramePr>
        <p:xfrm>
          <a:off x="924449" y="1536561"/>
          <a:ext cx="7422382" cy="42459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511723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79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162046" y="263770"/>
            <a:ext cx="8229600" cy="696930"/>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sing Modifiers </a:t>
            </a:r>
            <a:r>
              <a:rPr lang="en-US" sz="2400" dirty="0" smtClean="0">
                <a:solidFill>
                  <a:schemeClr val="tx2"/>
                </a:solidFill>
              </a:rPr>
              <a:t>–Query </a:t>
            </a:r>
            <a:r>
              <a:rPr lang="en-US" sz="24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3848400511"/>
              </p:ext>
            </p:extLst>
          </p:nvPr>
        </p:nvGraphicFramePr>
        <p:xfrm>
          <a:off x="736880" y="1134319"/>
          <a:ext cx="7837713" cy="53243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544494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89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t>
            </a:r>
          </a:p>
          <a:p>
            <a:pPr defTabSz="844029">
              <a:spcBef>
                <a:spcPct val="0"/>
              </a:spcBef>
            </a:pPr>
            <a:r>
              <a:rPr lang="en-US" sz="3200" dirty="0" smtClean="0">
                <a:solidFill>
                  <a:schemeClr val="tx2"/>
                </a:solidFill>
              </a:rPr>
              <a:t>Query </a:t>
            </a:r>
            <a:r>
              <a:rPr lang="en-US" sz="32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2955854906"/>
              </p:ext>
            </p:extLst>
          </p:nvPr>
        </p:nvGraphicFramePr>
        <p:xfrm>
          <a:off x="777073" y="1523163"/>
          <a:ext cx="7730531" cy="42593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2272790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00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r>
              <a:rPr lang="en-US" sz="3600" dirty="0">
                <a:solidFill>
                  <a:schemeClr val="tx2"/>
                </a:solidFill>
              </a:rPr>
              <a:t>Using </a:t>
            </a:r>
            <a:r>
              <a:rPr lang="en-US" sz="3500" dirty="0">
                <a:solidFill>
                  <a:schemeClr val="tx2"/>
                </a:solidFill>
              </a:rPr>
              <a:t>Modifiers</a:t>
            </a:r>
            <a:r>
              <a:rPr lang="en-US" sz="3600" dirty="0">
                <a:solidFill>
                  <a:schemeClr val="tx2"/>
                </a:solidFill>
              </a:rPr>
              <a:t> </a:t>
            </a:r>
            <a:r>
              <a:rPr lang="en-US" sz="3600" dirty="0" smtClean="0">
                <a:solidFill>
                  <a:schemeClr val="tx2"/>
                </a:solidFill>
              </a:rPr>
              <a:t>–</a:t>
            </a:r>
          </a:p>
          <a:p>
            <a:pPr defTabSz="844029">
              <a:spcBef>
                <a:spcPct val="0"/>
              </a:spcBef>
            </a:pPr>
            <a:r>
              <a:rPr lang="en-US" sz="3323" dirty="0" smtClean="0">
                <a:solidFill>
                  <a:schemeClr val="tx2"/>
                </a:solidFill>
              </a:rPr>
              <a:t>Query </a:t>
            </a:r>
            <a:r>
              <a:rPr lang="en-US" sz="3323" dirty="0">
                <a:solidFill>
                  <a:schemeClr val="tx2"/>
                </a:solidFill>
              </a:rPr>
              <a:t>Using Modifiers (Contd.)</a:t>
            </a:r>
          </a:p>
        </p:txBody>
      </p:sp>
      <p:grpSp>
        <p:nvGrpSpPr>
          <p:cNvPr id="2" name="Group 1"/>
          <p:cNvGrpSpPr/>
          <p:nvPr/>
        </p:nvGrpSpPr>
        <p:grpSpPr>
          <a:xfrm>
            <a:off x="763674" y="1294228"/>
            <a:ext cx="7717134" cy="5373858"/>
            <a:chOff x="763674" y="2388988"/>
            <a:chExt cx="7717134" cy="2486053"/>
          </a:xfrm>
        </p:grpSpPr>
        <p:sp>
          <p:nvSpPr>
            <p:cNvPr id="3" name="Freeform 2"/>
            <p:cNvSpPr/>
            <p:nvPr/>
          </p:nvSpPr>
          <p:spPr>
            <a:xfrm>
              <a:off x="763674" y="2388988"/>
              <a:ext cx="7717134" cy="437445"/>
            </a:xfrm>
            <a:custGeom>
              <a:avLst/>
              <a:gdLst>
                <a:gd name="connsiteX0" fmla="*/ 0 w 7717134"/>
                <a:gd name="connsiteY0" fmla="*/ 90367 h 542193"/>
                <a:gd name="connsiteX1" fmla="*/ 90367 w 7717134"/>
                <a:gd name="connsiteY1" fmla="*/ 0 h 542193"/>
                <a:gd name="connsiteX2" fmla="*/ 7626767 w 7717134"/>
                <a:gd name="connsiteY2" fmla="*/ 0 h 542193"/>
                <a:gd name="connsiteX3" fmla="*/ 7717134 w 7717134"/>
                <a:gd name="connsiteY3" fmla="*/ 90367 h 542193"/>
                <a:gd name="connsiteX4" fmla="*/ 7717134 w 7717134"/>
                <a:gd name="connsiteY4" fmla="*/ 451826 h 542193"/>
                <a:gd name="connsiteX5" fmla="*/ 7626767 w 7717134"/>
                <a:gd name="connsiteY5" fmla="*/ 542193 h 542193"/>
                <a:gd name="connsiteX6" fmla="*/ 90367 w 7717134"/>
                <a:gd name="connsiteY6" fmla="*/ 542193 h 542193"/>
                <a:gd name="connsiteX7" fmla="*/ 0 w 7717134"/>
                <a:gd name="connsiteY7" fmla="*/ 451826 h 542193"/>
                <a:gd name="connsiteX8" fmla="*/ 0 w 7717134"/>
                <a:gd name="connsiteY8" fmla="*/ 90367 h 54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7134" h="542193">
                  <a:moveTo>
                    <a:pt x="0" y="90367"/>
                  </a:moveTo>
                  <a:cubicBezTo>
                    <a:pt x="0" y="40459"/>
                    <a:pt x="40459" y="0"/>
                    <a:pt x="90367" y="0"/>
                  </a:cubicBezTo>
                  <a:lnTo>
                    <a:pt x="7626767" y="0"/>
                  </a:lnTo>
                  <a:cubicBezTo>
                    <a:pt x="7676675" y="0"/>
                    <a:pt x="7717134" y="40459"/>
                    <a:pt x="7717134" y="90367"/>
                  </a:cubicBezTo>
                  <a:lnTo>
                    <a:pt x="7717134" y="451826"/>
                  </a:lnTo>
                  <a:cubicBezTo>
                    <a:pt x="7717134" y="501734"/>
                    <a:pt x="7676675" y="542193"/>
                    <a:pt x="7626767" y="542193"/>
                  </a:cubicBezTo>
                  <a:lnTo>
                    <a:pt x="90367" y="542193"/>
                  </a:lnTo>
                  <a:cubicBezTo>
                    <a:pt x="40459" y="542193"/>
                    <a:pt x="0" y="501734"/>
                    <a:pt x="0" y="451826"/>
                  </a:cubicBezTo>
                  <a:lnTo>
                    <a:pt x="0" y="90367"/>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2668" tIns="102668" rIns="102668" bIns="102668"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7. </a:t>
              </a:r>
              <a:r>
                <a:rPr lang="en-US" sz="2000" kern="1200" dirty="0" smtClean="0">
                  <a:solidFill>
                    <a:srgbClr val="000000"/>
                  </a:solidFill>
                </a:rPr>
                <a:t>AddToSet</a:t>
              </a:r>
              <a:r>
                <a:rPr lang="en-US" sz="2000" kern="1200" dirty="0" smtClean="0">
                  <a:solidFill>
                    <a:srgbClr val="000000"/>
                  </a:solidFill>
                </a:rPr>
                <a:t> Modifier($</a:t>
              </a:r>
              <a:r>
                <a:rPr lang="en-US" sz="2000" kern="1200" dirty="0" smtClean="0">
                  <a:solidFill>
                    <a:srgbClr val="000000"/>
                  </a:solidFill>
                </a:rPr>
                <a:t>addToSet</a:t>
              </a:r>
              <a:r>
                <a:rPr lang="en-US" sz="2000" kern="1200" dirty="0" smtClean="0">
                  <a:solidFill>
                    <a:srgbClr val="000000"/>
                  </a:solidFill>
                </a:rPr>
                <a:t>): </a:t>
              </a:r>
              <a:endParaRPr lang="en-US" sz="2000" kern="1200" dirty="0">
                <a:solidFill>
                  <a:srgbClr val="000000"/>
                </a:solidFill>
              </a:endParaRPr>
            </a:p>
          </p:txBody>
        </p:sp>
        <p:sp>
          <p:nvSpPr>
            <p:cNvPr id="7" name="Freeform 6"/>
            <p:cNvSpPr/>
            <p:nvPr/>
          </p:nvSpPr>
          <p:spPr>
            <a:xfrm>
              <a:off x="763674" y="2884340"/>
              <a:ext cx="7717134" cy="268289"/>
            </a:xfrm>
            <a:custGeom>
              <a:avLst/>
              <a:gdLst>
                <a:gd name="connsiteX0" fmla="*/ 0 w 7717134"/>
                <a:gd name="connsiteY0" fmla="*/ 0 h 108462"/>
                <a:gd name="connsiteX1" fmla="*/ 7717134 w 7717134"/>
                <a:gd name="connsiteY1" fmla="*/ 0 h 108462"/>
                <a:gd name="connsiteX2" fmla="*/ 7717134 w 7717134"/>
                <a:gd name="connsiteY2" fmla="*/ 108462 h 108462"/>
                <a:gd name="connsiteX3" fmla="*/ 0 w 7717134"/>
                <a:gd name="connsiteY3" fmla="*/ 108462 h 108462"/>
                <a:gd name="connsiteX4" fmla="*/ 0 w 7717134"/>
                <a:gd name="connsiteY4" fmla="*/ 0 h 10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7134" h="108462">
                  <a:moveTo>
                    <a:pt x="0" y="0"/>
                  </a:moveTo>
                  <a:lnTo>
                    <a:pt x="7717134" y="0"/>
                  </a:lnTo>
                  <a:lnTo>
                    <a:pt x="7717134" y="108462"/>
                  </a:lnTo>
                  <a:lnTo>
                    <a:pt x="0" y="1084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501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a:t>
              </a:r>
              <a:r>
                <a:rPr lang="en-US" sz="2000" kern="1200" dirty="0" smtClean="0">
                  <a:solidFill>
                    <a:srgbClr val="000000"/>
                  </a:solidFill>
                </a:rPr>
                <a:t>addToSet</a:t>
              </a:r>
              <a:r>
                <a:rPr lang="en-US" sz="2000" kern="1200" dirty="0" smtClean="0">
                  <a:solidFill>
                    <a:srgbClr val="000000"/>
                  </a:solidFill>
                </a:rPr>
                <a:t>:{</a:t>
              </a:r>
              <a:r>
                <a:rPr lang="en-US" sz="2000" kern="1200" dirty="0" smtClean="0">
                  <a:solidFill>
                    <a:srgbClr val="000000"/>
                  </a:solidFill>
                </a:rPr>
                <a:t>foodILike</a:t>
              </a:r>
              <a:r>
                <a:rPr lang="en-US" sz="2000" kern="1200" dirty="0" smtClean="0">
                  <a:solidFill>
                    <a:srgbClr val="000000"/>
                  </a:solidFill>
                </a:rPr>
                <a:t>:"</a:t>
              </a:r>
              <a:r>
                <a:rPr lang="en-US" sz="2000" kern="1200" dirty="0" smtClean="0">
                  <a:solidFill>
                    <a:srgbClr val="000000"/>
                  </a:solidFill>
                </a:rPr>
                <a:t>idali</a:t>
              </a:r>
              <a:r>
                <a:rPr lang="en-US" sz="2000" kern="1200" dirty="0" smtClean="0">
                  <a:solidFill>
                    <a:srgbClr val="000000"/>
                  </a:solidFill>
                </a:rPr>
                <a:t>"}}) </a:t>
              </a:r>
            </a:p>
          </p:txBody>
        </p:sp>
        <p:sp>
          <p:nvSpPr>
            <p:cNvPr id="8" name="Freeform 7"/>
            <p:cNvSpPr/>
            <p:nvPr/>
          </p:nvSpPr>
          <p:spPr>
            <a:xfrm>
              <a:off x="763674" y="3254551"/>
              <a:ext cx="7717134" cy="318935"/>
            </a:xfrm>
            <a:custGeom>
              <a:avLst/>
              <a:gdLst>
                <a:gd name="connsiteX0" fmla="*/ 0 w 7717134"/>
                <a:gd name="connsiteY0" fmla="*/ 79795 h 478763"/>
                <a:gd name="connsiteX1" fmla="*/ 79795 w 7717134"/>
                <a:gd name="connsiteY1" fmla="*/ 0 h 478763"/>
                <a:gd name="connsiteX2" fmla="*/ 7637339 w 7717134"/>
                <a:gd name="connsiteY2" fmla="*/ 0 h 478763"/>
                <a:gd name="connsiteX3" fmla="*/ 7717134 w 7717134"/>
                <a:gd name="connsiteY3" fmla="*/ 79795 h 478763"/>
                <a:gd name="connsiteX4" fmla="*/ 7717134 w 7717134"/>
                <a:gd name="connsiteY4" fmla="*/ 398968 h 478763"/>
                <a:gd name="connsiteX5" fmla="*/ 7637339 w 7717134"/>
                <a:gd name="connsiteY5" fmla="*/ 478763 h 478763"/>
                <a:gd name="connsiteX6" fmla="*/ 79795 w 7717134"/>
                <a:gd name="connsiteY6" fmla="*/ 478763 h 478763"/>
                <a:gd name="connsiteX7" fmla="*/ 0 w 7717134"/>
                <a:gd name="connsiteY7" fmla="*/ 398968 h 478763"/>
                <a:gd name="connsiteX8" fmla="*/ 0 w 7717134"/>
                <a:gd name="connsiteY8" fmla="*/ 79795 h 47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7134" h="478763">
                  <a:moveTo>
                    <a:pt x="0" y="79795"/>
                  </a:moveTo>
                  <a:cubicBezTo>
                    <a:pt x="0" y="35725"/>
                    <a:pt x="35725" y="0"/>
                    <a:pt x="79795" y="0"/>
                  </a:cubicBezTo>
                  <a:lnTo>
                    <a:pt x="7637339" y="0"/>
                  </a:lnTo>
                  <a:cubicBezTo>
                    <a:pt x="7681409" y="0"/>
                    <a:pt x="7717134" y="35725"/>
                    <a:pt x="7717134" y="79795"/>
                  </a:cubicBezTo>
                  <a:lnTo>
                    <a:pt x="7717134" y="398968"/>
                  </a:lnTo>
                  <a:cubicBezTo>
                    <a:pt x="7717134" y="443038"/>
                    <a:pt x="7681409" y="478763"/>
                    <a:pt x="7637339" y="478763"/>
                  </a:cubicBezTo>
                  <a:lnTo>
                    <a:pt x="79795" y="478763"/>
                  </a:lnTo>
                  <a:cubicBezTo>
                    <a:pt x="35725" y="478763"/>
                    <a:pt x="0" y="443038"/>
                    <a:pt x="0" y="398968"/>
                  </a:cubicBezTo>
                  <a:lnTo>
                    <a:pt x="0" y="79795"/>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9571" tIns="99571" rIns="99571" bIns="99571"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8. Pop Modifier($pop): </a:t>
              </a:r>
            </a:p>
          </p:txBody>
        </p:sp>
        <p:sp>
          <p:nvSpPr>
            <p:cNvPr id="9" name="Freeform 8"/>
            <p:cNvSpPr/>
            <p:nvPr/>
          </p:nvSpPr>
          <p:spPr>
            <a:xfrm>
              <a:off x="763674" y="3675408"/>
              <a:ext cx="7717134" cy="1199633"/>
            </a:xfrm>
            <a:custGeom>
              <a:avLst/>
              <a:gdLst>
                <a:gd name="connsiteX0" fmla="*/ 0 w 7717134"/>
                <a:gd name="connsiteY0" fmla="*/ 0 h 1301554"/>
                <a:gd name="connsiteX1" fmla="*/ 7717134 w 7717134"/>
                <a:gd name="connsiteY1" fmla="*/ 0 h 1301554"/>
                <a:gd name="connsiteX2" fmla="*/ 7717134 w 7717134"/>
                <a:gd name="connsiteY2" fmla="*/ 1301554 h 1301554"/>
                <a:gd name="connsiteX3" fmla="*/ 0 w 7717134"/>
                <a:gd name="connsiteY3" fmla="*/ 1301554 h 1301554"/>
                <a:gd name="connsiteX4" fmla="*/ 0 w 7717134"/>
                <a:gd name="connsiteY4" fmla="*/ 0 h 1301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7134" h="1301554">
                  <a:moveTo>
                    <a:pt x="0" y="0"/>
                  </a:moveTo>
                  <a:lnTo>
                    <a:pt x="7717134" y="0"/>
                  </a:lnTo>
                  <a:lnTo>
                    <a:pt x="7717134" y="1301554"/>
                  </a:lnTo>
                  <a:lnTo>
                    <a:pt x="0" y="13015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501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comment = -1 remove an element from start. </a:t>
              </a:r>
            </a:p>
            <a:p>
              <a:pPr marL="228600" lvl="1" indent="-228600" algn="l" defTabSz="889000">
                <a:lnSpc>
                  <a:spcPct val="90000"/>
                </a:lnSpc>
                <a:spcBef>
                  <a:spcPct val="0"/>
                </a:spcBef>
                <a:spcAft>
                  <a:spcPct val="20000"/>
                </a:spcAft>
                <a:buChar char="••"/>
              </a:pPr>
              <a:r>
                <a:rPr lang="en-US" sz="2000" kern="1200" dirty="0" smtClean="0">
                  <a:solidFill>
                    <a:srgbClr val="000000"/>
                  </a:solidFill>
                </a:rPr>
                <a:t>comment = 1 remove an element from end   </a:t>
              </a:r>
            </a:p>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pop:{</a:t>
              </a:r>
              <a:r>
                <a:rPr lang="en-US" sz="2000" kern="1200" dirty="0" smtClean="0">
                  <a:solidFill>
                    <a:srgbClr val="000000"/>
                  </a:solidFill>
                </a:rPr>
                <a:t>foodILike</a:t>
              </a:r>
              <a:r>
                <a:rPr lang="en-US" sz="2000" kern="1200" dirty="0" smtClean="0">
                  <a:solidFill>
                    <a:srgbClr val="000000"/>
                  </a:solidFill>
                </a:rPr>
                <a:t>:"pizza"}})</a:t>
              </a:r>
              <a:endParaRPr lang="en-US" sz="2000" kern="1200" dirty="0">
                <a:solidFill>
                  <a:srgbClr val="000000"/>
                </a:solidFill>
              </a:endParaRPr>
            </a:p>
          </p:txBody>
        </p:sp>
      </p:grpSp>
    </p:spTree>
    <p:extLst>
      <p:ext uri="{BB962C8B-B14F-4D97-AF65-F5344CB8AC3E}">
        <p14:creationId xmlns:p14="http://schemas.microsoft.com/office/powerpoint/2010/main" val="17111278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10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2800" dirty="0">
                <a:solidFill>
                  <a:schemeClr val="tx2"/>
                </a:solidFill>
              </a:rPr>
              <a:t>Using Modifiers </a:t>
            </a:r>
            <a:r>
              <a:rPr lang="en-US" sz="2800" dirty="0" smtClean="0">
                <a:solidFill>
                  <a:schemeClr val="tx2"/>
                </a:solidFill>
              </a:rPr>
              <a:t>–Query </a:t>
            </a:r>
            <a:r>
              <a:rPr lang="en-US" sz="28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697579639"/>
              </p:ext>
            </p:extLst>
          </p:nvPr>
        </p:nvGraphicFramePr>
        <p:xfrm>
          <a:off x="656492" y="1280159"/>
          <a:ext cx="7824317" cy="51487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19183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20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OR </a:t>
            </a:r>
            <a:r>
              <a:rPr lang="en-US" sz="3200" dirty="0">
                <a:solidFill>
                  <a:schemeClr val="tx2"/>
                </a:solidFill>
              </a:rPr>
              <a:t>Queries </a:t>
            </a:r>
          </a:p>
        </p:txBody>
      </p:sp>
      <p:graphicFrame>
        <p:nvGraphicFramePr>
          <p:cNvPr id="6" name="Diagram 5"/>
          <p:cNvGraphicFramePr/>
          <p:nvPr>
            <p:extLst>
              <p:ext uri="{D42A27DB-BD31-4B8C-83A1-F6EECF244321}">
                <p14:modId xmlns:p14="http://schemas.microsoft.com/office/powerpoint/2010/main" val="3579377333"/>
              </p:ext>
            </p:extLst>
          </p:nvPr>
        </p:nvGraphicFramePr>
        <p:xfrm>
          <a:off x="777073" y="2342662"/>
          <a:ext cx="7824316" cy="33606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0258602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30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ND </a:t>
            </a:r>
            <a:r>
              <a:rPr lang="en-US" sz="3200" dirty="0">
                <a:solidFill>
                  <a:schemeClr val="tx2"/>
                </a:solidFill>
              </a:rPr>
              <a:t>Queries</a:t>
            </a:r>
          </a:p>
        </p:txBody>
      </p:sp>
      <p:graphicFrame>
        <p:nvGraphicFramePr>
          <p:cNvPr id="6" name="Diagram 5"/>
          <p:cNvGraphicFramePr/>
          <p:nvPr>
            <p:extLst>
              <p:ext uri="{D42A27DB-BD31-4B8C-83A1-F6EECF244321}">
                <p14:modId xmlns:p14="http://schemas.microsoft.com/office/powerpoint/2010/main" val="2336811211"/>
              </p:ext>
            </p:extLst>
          </p:nvPr>
        </p:nvGraphicFramePr>
        <p:xfrm>
          <a:off x="817266" y="2348244"/>
          <a:ext cx="774393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6565134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57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rgbClr val="0094C3"/>
                </a:solidFill>
              </a:rPr>
              <a:t>Crud Operations – Create, Read, Update, Delete</a:t>
            </a:r>
          </a:p>
        </p:txBody>
      </p:sp>
      <p:pic>
        <p:nvPicPr>
          <p:cNvPr id="6" name="Content Placeholder 5" descr="images.jpg"/>
          <p:cNvPicPr>
            <a:picLocks noGrp="1" noChangeAspect="1"/>
          </p:cNvPicPr>
          <p:nvPr>
            <p:ph idx="1"/>
          </p:nvPr>
        </p:nvPicPr>
        <p:blipFill>
          <a:blip r:embed="rId7" cstate="print"/>
          <a:stretch>
            <a:fillRect/>
          </a:stretch>
        </p:blipFill>
        <p:spPr>
          <a:xfrm>
            <a:off x="818769" y="1359039"/>
            <a:ext cx="7403554" cy="475701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1036007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40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ND </a:t>
            </a:r>
            <a:r>
              <a:rPr lang="en-US" sz="3200" dirty="0">
                <a:solidFill>
                  <a:schemeClr val="tx2"/>
                </a:solidFill>
              </a:rPr>
              <a:t>Queries (Contd.)</a:t>
            </a:r>
          </a:p>
        </p:txBody>
      </p:sp>
      <p:graphicFrame>
        <p:nvGraphicFramePr>
          <p:cNvPr id="7" name="Diagram 6"/>
          <p:cNvGraphicFramePr/>
          <p:nvPr>
            <p:extLst>
              <p:ext uri="{D42A27DB-BD31-4B8C-83A1-F6EECF244321}">
                <p14:modId xmlns:p14="http://schemas.microsoft.com/office/powerpoint/2010/main" val="1758004696"/>
              </p:ext>
            </p:extLst>
          </p:nvPr>
        </p:nvGraphicFramePr>
        <p:xfrm>
          <a:off x="683287" y="1557773"/>
          <a:ext cx="7824317" cy="441346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2375253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81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rPr>
              <a:t>Query document – find() method</a:t>
            </a:r>
          </a:p>
        </p:txBody>
      </p:sp>
      <p:graphicFrame>
        <p:nvGraphicFramePr>
          <p:cNvPr id="6" name="Diagram 5"/>
          <p:cNvGraphicFramePr/>
          <p:nvPr>
            <p:extLst>
              <p:ext uri="{D42A27DB-BD31-4B8C-83A1-F6EECF244321}">
                <p14:modId xmlns:p14="http://schemas.microsoft.com/office/powerpoint/2010/main" val="3914471988"/>
              </p:ext>
            </p:extLst>
          </p:nvPr>
        </p:nvGraphicFramePr>
        <p:xfrm>
          <a:off x="777073" y="1482970"/>
          <a:ext cx="7743930" cy="42995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539418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61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document </a:t>
            </a:r>
            <a:r>
              <a:rPr lang="en-US" sz="3200" dirty="0" smtClean="0">
                <a:solidFill>
                  <a:schemeClr val="tx2"/>
                </a:solidFill>
              </a:rPr>
              <a:t>-</a:t>
            </a:r>
            <a:r>
              <a:rPr lang="en-US" sz="3200" dirty="0" smtClean="0">
                <a:solidFill>
                  <a:schemeClr val="tx2"/>
                </a:solidFill>
                <a:latin typeface="Arial Narrow" pitchFamily="34" charset="0"/>
              </a:rPr>
              <a:t>MongoDB </a:t>
            </a:r>
            <a:r>
              <a:rPr lang="en-US" sz="3200" dirty="0">
                <a:solidFill>
                  <a:schemeClr val="tx2"/>
                </a:solidFill>
                <a:latin typeface="Arial Narrow" pitchFamily="34" charset="0"/>
              </a:rPr>
              <a:t>- Projection</a:t>
            </a:r>
          </a:p>
        </p:txBody>
      </p:sp>
      <p:graphicFrame>
        <p:nvGraphicFramePr>
          <p:cNvPr id="6" name="Diagram 5"/>
          <p:cNvGraphicFramePr/>
          <p:nvPr>
            <p:extLst>
              <p:ext uri="{D42A27DB-BD31-4B8C-83A1-F6EECF244321}">
                <p14:modId xmlns:p14="http://schemas.microsoft.com/office/powerpoint/2010/main" val="1405907343"/>
              </p:ext>
            </p:extLst>
          </p:nvPr>
        </p:nvGraphicFramePr>
        <p:xfrm>
          <a:off x="656492" y="1536561"/>
          <a:ext cx="7931499" cy="50752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07537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90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Query </a:t>
            </a:r>
            <a:r>
              <a:rPr lang="en-US" sz="3200" dirty="0">
                <a:solidFill>
                  <a:schemeClr val="accent1"/>
                </a:solidFill>
              </a:rPr>
              <a:t>Interface </a:t>
            </a:r>
          </a:p>
        </p:txBody>
      </p:sp>
      <p:graphicFrame>
        <p:nvGraphicFramePr>
          <p:cNvPr id="6" name="Diagram 5"/>
          <p:cNvGraphicFramePr/>
          <p:nvPr/>
        </p:nvGraphicFramePr>
        <p:xfrm>
          <a:off x="576105" y="3640015"/>
          <a:ext cx="7998488" cy="21425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Table 6"/>
          <p:cNvGraphicFramePr>
            <a:graphicFrameLocks noGrp="1"/>
          </p:cNvGraphicFramePr>
          <p:nvPr>
            <p:extLst>
              <p:ext uri="{D42A27DB-BD31-4B8C-83A1-F6EECF244321}">
                <p14:modId xmlns:p14="http://schemas.microsoft.com/office/powerpoint/2010/main" val="744779819"/>
              </p:ext>
            </p:extLst>
          </p:nvPr>
        </p:nvGraphicFramePr>
        <p:xfrm>
          <a:off x="830665" y="1456733"/>
          <a:ext cx="7368791" cy="1908072"/>
        </p:xfrm>
        <a:graphic>
          <a:graphicData uri="http://schemas.openxmlformats.org/drawingml/2006/table">
            <a:tbl>
              <a:tblPr bandRow="1">
                <a:tableStyleId>{7DF18680-E054-41AD-8BC1-D1AEF772440D}</a:tableStyleId>
              </a:tblPr>
              <a:tblGrid>
                <a:gridCol w="2868006"/>
                <a:gridCol w="2044521"/>
                <a:gridCol w="2456264"/>
              </a:tblGrid>
              <a:tr h="477018">
                <a:tc>
                  <a:txBody>
                    <a:bodyPr/>
                    <a:lstStyle/>
                    <a:p>
                      <a:r>
                        <a:rPr lang="en-US" sz="1200" dirty="0" smtClean="0">
                          <a:solidFill>
                            <a:srgbClr val="000000"/>
                          </a:solidFill>
                        </a:rPr>
                        <a:t>db.employees.find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algn="l"/>
                      <a:r>
                        <a:rPr lang="en-US" sz="1200" b="0" dirty="0" smtClean="0">
                          <a:solidFill>
                            <a:srgbClr val="000000"/>
                          </a:solidFill>
                        </a:rPr>
                        <a:t>Collection</a:t>
                      </a:r>
                      <a:endParaRPr lang="en-US" sz="1200" b="0" dirty="0">
                        <a:solidFill>
                          <a:srgbClr val="000000"/>
                        </a:solidFill>
                      </a:endParaRPr>
                    </a:p>
                  </a:txBody>
                  <a:tcPr marL="84406" marR="84406" marT="42203" marB="42203" anchor="ctr"/>
                </a:tc>
              </a:tr>
              <a:tr h="477018">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  age : { $gt : 18}} ,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Query Criteria</a:t>
                      </a:r>
                      <a:endParaRPr lang="en-US" sz="1200" b="0" dirty="0">
                        <a:solidFill>
                          <a:srgbClr val="000000"/>
                        </a:solidFill>
                      </a:endParaRPr>
                    </a:p>
                  </a:txBody>
                  <a:tcPr marL="84406" marR="84406" marT="42203" marB="42203" anchor="ctr"/>
                </a:tc>
              </a:tr>
              <a:tr h="477018">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  name : 1, address :1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algn="l"/>
                      <a:r>
                        <a:rPr lang="en-US" sz="1200" b="0" dirty="0" smtClean="0">
                          <a:solidFill>
                            <a:srgbClr val="000000"/>
                          </a:solidFill>
                        </a:rPr>
                        <a:t>Projection</a:t>
                      </a:r>
                      <a:endParaRPr lang="en-US" sz="1200" dirty="0">
                        <a:solidFill>
                          <a:srgbClr val="000000"/>
                        </a:solidFill>
                      </a:endParaRPr>
                    </a:p>
                  </a:txBody>
                  <a:tcPr marL="84406" marR="84406" marT="42203" marB="42203" anchor="ctr"/>
                </a:tc>
              </a:tr>
              <a:tr h="477018">
                <a:tc>
                  <a:txBody>
                    <a:bodyPr/>
                    <a:lstStyle/>
                    <a:p>
                      <a:r>
                        <a:rPr lang="en-US" sz="1200" dirty="0" smtClean="0">
                          <a:solidFill>
                            <a:srgbClr val="000000"/>
                          </a:solidFill>
                        </a:rPr>
                        <a:t>) . Limit (5)</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Cursor modifier</a:t>
                      </a:r>
                      <a:endParaRPr lang="en-US" sz="1200" dirty="0">
                        <a:solidFill>
                          <a:srgbClr val="000000"/>
                        </a:solidFill>
                      </a:endParaRPr>
                    </a:p>
                  </a:txBody>
                  <a:tcPr marL="84406" marR="84406" marT="42203" marB="42203" anchor="ctr"/>
                </a:tc>
              </a:tr>
            </a:tbl>
          </a:graphicData>
        </a:graphic>
      </p:graphicFrame>
      <p:sp>
        <p:nvSpPr>
          <p:cNvPr id="8" name="Left Arrow 7"/>
          <p:cNvSpPr/>
          <p:nvPr/>
        </p:nvSpPr>
        <p:spPr>
          <a:xfrm>
            <a:off x="4293995" y="1549958"/>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9" name="Left Arrow 8"/>
          <p:cNvSpPr/>
          <p:nvPr/>
        </p:nvSpPr>
        <p:spPr>
          <a:xfrm>
            <a:off x="4293995" y="2021114"/>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10" name="Left Arrow 9"/>
          <p:cNvSpPr/>
          <p:nvPr/>
        </p:nvSpPr>
        <p:spPr>
          <a:xfrm>
            <a:off x="4293995" y="2492270"/>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11" name="Left Arrow 10"/>
          <p:cNvSpPr/>
          <p:nvPr/>
        </p:nvSpPr>
        <p:spPr>
          <a:xfrm>
            <a:off x="4293995" y="2963426"/>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Tree>
    <p:extLst>
      <p:ext uri="{BB962C8B-B14F-4D97-AF65-F5344CB8AC3E}">
        <p14:creationId xmlns:p14="http://schemas.microsoft.com/office/powerpoint/2010/main" val="29282675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008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accent1"/>
                </a:solidFill>
              </a:rPr>
              <a:t>Documents-Queries </a:t>
            </a:r>
            <a:r>
              <a:rPr lang="en-US" sz="3200" dirty="0">
                <a:solidFill>
                  <a:schemeClr val="accent1"/>
                </a:solidFill>
              </a:rPr>
              <a:t>in MongoDB</a:t>
            </a:r>
          </a:p>
        </p:txBody>
      </p:sp>
      <p:graphicFrame>
        <p:nvGraphicFramePr>
          <p:cNvPr id="6" name="Diagram 5"/>
          <p:cNvGraphicFramePr/>
          <p:nvPr>
            <p:extLst>
              <p:ext uri="{D42A27DB-BD31-4B8C-83A1-F6EECF244321}">
                <p14:modId xmlns:p14="http://schemas.microsoft.com/office/powerpoint/2010/main" val="2624168753"/>
              </p:ext>
            </p:extLst>
          </p:nvPr>
        </p:nvGraphicFramePr>
        <p:xfrm>
          <a:off x="763675" y="1603549"/>
          <a:ext cx="7784123" cy="415220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630262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111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81354" y="263769"/>
            <a:ext cx="841579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tx2"/>
                </a:solidFill>
              </a:rPr>
              <a:t>Documents-Comparison </a:t>
            </a:r>
            <a:r>
              <a:rPr lang="en-US" sz="3200" dirty="0">
                <a:solidFill>
                  <a:schemeClr val="tx2"/>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2942793969"/>
              </p:ext>
            </p:extLst>
          </p:nvPr>
        </p:nvGraphicFramePr>
        <p:xfrm>
          <a:off x="629697" y="1571171"/>
          <a:ext cx="8052078" cy="4118710"/>
        </p:xfrm>
        <a:graphic>
          <a:graphicData uri="http://schemas.openxmlformats.org/drawingml/2006/table">
            <a:tbl>
              <a:tblPr firstRow="1" bandRow="1">
                <a:tableStyleId>{7DF18680-E054-41AD-8BC1-D1AEF772440D}</a:tableStyleId>
              </a:tblPr>
              <a:tblGrid>
                <a:gridCol w="2659404"/>
                <a:gridCol w="5392674"/>
              </a:tblGrid>
              <a:tr h="823742">
                <a:tc>
                  <a:txBody>
                    <a:bodyPr/>
                    <a:lstStyle/>
                    <a:p>
                      <a:pPr algn="ctr"/>
                      <a:r>
                        <a:rPr lang="en-US" sz="2200" u="none" strike="noStrike" dirty="0" smtClean="0"/>
                        <a:t>Operators</a:t>
                      </a:r>
                      <a:endParaRPr lang="en-US" sz="2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23742">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800" u="none" strike="noStrike" kern="1200" dirty="0" smtClean="0">
                          <a:solidFill>
                            <a:srgbClr val="000000"/>
                          </a:solidFill>
                          <a:latin typeface="+mn-lt"/>
                          <a:ea typeface="+mn-ea"/>
                          <a:cs typeface="+mn-cs"/>
                        </a:rPr>
                        <a:t>$eq</a:t>
                      </a: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equal to a specified value.</a:t>
                      </a:r>
                      <a:endParaRPr lang="en-US" sz="1800" dirty="0">
                        <a:solidFill>
                          <a:srgbClr val="000000"/>
                        </a:solidFill>
                      </a:endParaRPr>
                    </a:p>
                  </a:txBody>
                  <a:tcPr marL="84406" marR="84406" marT="42203" marB="42203" anchor="ctr"/>
                </a:tc>
              </a:tr>
              <a:tr h="823742">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800" u="none" strike="noStrike" kern="1200" dirty="0" smtClean="0">
                          <a:solidFill>
                            <a:srgbClr val="000000"/>
                          </a:solidFill>
                          <a:latin typeface="+mn-lt"/>
                          <a:ea typeface="+mn-ea"/>
                          <a:cs typeface="+mn-cs"/>
                        </a:rPr>
                        <a:t>$gt</a:t>
                      </a: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greater than a specified value.</a:t>
                      </a:r>
                      <a:endParaRPr lang="en-US" sz="1800" dirty="0">
                        <a:solidFill>
                          <a:srgbClr val="000000"/>
                        </a:solidFill>
                      </a:endParaRPr>
                    </a:p>
                  </a:txBody>
                  <a:tcPr marL="84406" marR="84406" marT="42203" marB="42203" anchor="ctr"/>
                </a:tc>
              </a:tr>
              <a:tr h="823742">
                <a:tc>
                  <a:txBody>
                    <a:bodyPr/>
                    <a:lstStyle/>
                    <a:p>
                      <a:pPr algn="ctr"/>
                      <a:r>
                        <a:rPr lang="en-US" sz="1800" dirty="0" smtClean="0">
                          <a:solidFill>
                            <a:srgbClr val="000000"/>
                          </a:solidFill>
                          <a:latin typeface="+mn-lt"/>
                        </a:rPr>
                        <a:t>$g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greater than or equal to a specified value.</a:t>
                      </a:r>
                      <a:endParaRPr lang="en-US" sz="1800" dirty="0">
                        <a:solidFill>
                          <a:srgbClr val="000000"/>
                        </a:solidFill>
                      </a:endParaRPr>
                    </a:p>
                  </a:txBody>
                  <a:tcPr marL="84406" marR="84406" marT="42203" marB="42203" anchor="ctr"/>
                </a:tc>
              </a:tr>
              <a:tr h="823742">
                <a:tc>
                  <a:txBody>
                    <a:bodyPr/>
                    <a:lstStyle/>
                    <a:p>
                      <a:pPr algn="ctr"/>
                      <a:r>
                        <a:rPr lang="en-US" sz="1800" dirty="0" smtClean="0">
                          <a:solidFill>
                            <a:srgbClr val="000000"/>
                          </a:solidFill>
                          <a:latin typeface="+mn-lt"/>
                        </a:rPr>
                        <a:t>$lt</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less than a specified value.</a:t>
                      </a:r>
                      <a:endParaRPr lang="en-US" sz="1800" dirty="0">
                        <a:solidFill>
                          <a:srgbClr val="000000"/>
                        </a:solidFill>
                      </a:endParaRPr>
                    </a:p>
                  </a:txBody>
                  <a:tcPr marL="84406" marR="84406" marT="42203" marB="42203" anchor="ctr"/>
                </a:tc>
              </a:tr>
            </a:tbl>
          </a:graphicData>
        </a:graphic>
      </p:graphicFrame>
    </p:spTree>
    <p:extLst>
      <p:ext uri="{BB962C8B-B14F-4D97-AF65-F5344CB8AC3E}">
        <p14:creationId xmlns:p14="http://schemas.microsoft.com/office/powerpoint/2010/main" val="14568511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21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351692" y="263769"/>
            <a:ext cx="8345452"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tx2"/>
                </a:solidFill>
              </a:rPr>
              <a:t>Documents-Comparison </a:t>
            </a:r>
            <a:r>
              <a:rPr lang="en-US" sz="3200" dirty="0">
                <a:solidFill>
                  <a:schemeClr val="tx2"/>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3324345965"/>
              </p:ext>
            </p:extLst>
          </p:nvPr>
        </p:nvGraphicFramePr>
        <p:xfrm>
          <a:off x="656492" y="1571170"/>
          <a:ext cx="8065477" cy="4078519"/>
        </p:xfrm>
        <a:graphic>
          <a:graphicData uri="http://schemas.openxmlformats.org/drawingml/2006/table">
            <a:tbl>
              <a:tblPr firstRow="1" bandRow="1">
                <a:tableStyleId>{7DF18680-E054-41AD-8BC1-D1AEF772440D}</a:tableStyleId>
              </a:tblPr>
              <a:tblGrid>
                <a:gridCol w="2574090"/>
                <a:gridCol w="5491387"/>
              </a:tblGrid>
              <a:tr h="657391">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200" u="none" strike="noStrike" dirty="0" smtClean="0"/>
                        <a:t>Operators</a:t>
                      </a:r>
                      <a:endParaRPr lang="en-US" sz="1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55282">
                <a:tc>
                  <a:txBody>
                    <a:bodyPr/>
                    <a:lstStyle/>
                    <a:p>
                      <a:pPr algn="ctr"/>
                      <a:r>
                        <a:rPr lang="en-US" sz="1800" dirty="0" smtClean="0">
                          <a:solidFill>
                            <a:srgbClr val="000000"/>
                          </a:solidFill>
                          <a:latin typeface="+mn-lt"/>
                        </a:rPr>
                        <a:t>$l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values that are less than or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ll values that are not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ny of the values specified in an array.</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none of the values specified in an array.</a:t>
                      </a:r>
                      <a:endParaRPr lang="en-US" sz="1800" dirty="0">
                        <a:solidFill>
                          <a:srgbClr val="000000"/>
                        </a:solidFill>
                        <a:latin typeface="+mn-lt"/>
                      </a:endParaRPr>
                    </a:p>
                  </a:txBody>
                  <a:tcPr marL="84406" marR="84406" marT="42203" marB="42203" anchor="ctr"/>
                </a:tc>
              </a:tr>
            </a:tbl>
          </a:graphicData>
        </a:graphic>
      </p:graphicFrame>
    </p:spTree>
    <p:extLst>
      <p:ext uri="{BB962C8B-B14F-4D97-AF65-F5344CB8AC3E}">
        <p14:creationId xmlns:p14="http://schemas.microsoft.com/office/powerpoint/2010/main" val="124065670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31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Logical </a:t>
            </a:r>
            <a:r>
              <a:rPr lang="en-US" sz="3200" dirty="0">
                <a:solidFill>
                  <a:schemeClr val="accent1"/>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638633057"/>
              </p:ext>
            </p:extLst>
          </p:nvPr>
        </p:nvGraphicFramePr>
        <p:xfrm>
          <a:off x="656492" y="1571170"/>
          <a:ext cx="8065477" cy="4078519"/>
        </p:xfrm>
        <a:graphic>
          <a:graphicData uri="http://schemas.openxmlformats.org/drawingml/2006/table">
            <a:tbl>
              <a:tblPr firstRow="1" bandRow="1">
                <a:tableStyleId>{7DF18680-E054-41AD-8BC1-D1AEF772440D}</a:tableStyleId>
              </a:tblPr>
              <a:tblGrid>
                <a:gridCol w="2574090"/>
                <a:gridCol w="5491387"/>
              </a:tblGrid>
              <a:tr h="657391">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200" u="none" strike="noStrike" dirty="0" smtClean="0"/>
                        <a:t>Name</a:t>
                      </a:r>
                      <a:endParaRPr lang="en-US" sz="1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55282">
                <a:tc>
                  <a:txBody>
                    <a:bodyPr/>
                    <a:lstStyle/>
                    <a:p>
                      <a:pPr algn="ctr"/>
                      <a:r>
                        <a:rPr lang="en-US" sz="1800" dirty="0" smtClean="0">
                          <a:solidFill>
                            <a:srgbClr val="000000"/>
                          </a:solidFill>
                          <a:latin typeface="+mn-lt"/>
                        </a:rPr>
                        <a:t>$l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values that are less than or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ll values that are not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ny of the values specified in an array.</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none of the values specified in an array.</a:t>
                      </a:r>
                      <a:endParaRPr lang="en-US" sz="1800" dirty="0">
                        <a:solidFill>
                          <a:srgbClr val="000000"/>
                        </a:solidFill>
                        <a:latin typeface="+mn-lt"/>
                      </a:endParaRPr>
                    </a:p>
                  </a:txBody>
                  <a:tcPr marL="84406" marR="84406" marT="42203" marB="42203" anchor="ctr"/>
                </a:tc>
              </a:tr>
            </a:tbl>
          </a:graphicData>
        </a:graphic>
      </p:graphicFrame>
    </p:spTree>
    <p:extLst>
      <p:ext uri="{BB962C8B-B14F-4D97-AF65-F5344CB8AC3E}">
        <p14:creationId xmlns:p14="http://schemas.microsoft.com/office/powerpoint/2010/main" val="3793505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4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Title</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2423042589"/>
              </p:ext>
            </p:extLst>
          </p:nvPr>
        </p:nvGraphicFramePr>
        <p:xfrm>
          <a:off x="467544" y="1874855"/>
          <a:ext cx="7837714" cy="42593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290586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52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Title</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4283021544"/>
              </p:ext>
            </p:extLst>
          </p:nvPr>
        </p:nvGraphicFramePr>
        <p:xfrm>
          <a:off x="790471" y="1169056"/>
          <a:ext cx="7556360" cy="533021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516818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67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mj-lt"/>
              </a:rPr>
              <a:t>CRUD</a:t>
            </a:r>
          </a:p>
        </p:txBody>
      </p:sp>
      <p:graphicFrame>
        <p:nvGraphicFramePr>
          <p:cNvPr id="6" name="Diagram 5"/>
          <p:cNvGraphicFramePr/>
          <p:nvPr/>
        </p:nvGraphicFramePr>
        <p:xfrm>
          <a:off x="1004142" y="1326124"/>
          <a:ext cx="7582001" cy="45259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153602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62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 </a:t>
            </a:r>
            <a:r>
              <a:rPr lang="en-US" sz="3200" dirty="0">
                <a:solidFill>
                  <a:schemeClr val="tx2"/>
                </a:solidFill>
              </a:rPr>
              <a:t>Query </a:t>
            </a:r>
            <a:r>
              <a:rPr lang="en-US" sz="3200" dirty="0">
                <a:solidFill>
                  <a:srgbClr val="0094C3"/>
                </a:solidFill>
              </a:rPr>
              <a:t>Operators</a:t>
            </a:r>
          </a:p>
        </p:txBody>
      </p:sp>
      <p:graphicFrame>
        <p:nvGraphicFramePr>
          <p:cNvPr id="6" name="Diagram 5"/>
          <p:cNvGraphicFramePr/>
          <p:nvPr>
            <p:extLst>
              <p:ext uri="{D42A27DB-BD31-4B8C-83A1-F6EECF244321}">
                <p14:modId xmlns:p14="http://schemas.microsoft.com/office/powerpoint/2010/main" val="1050178211"/>
              </p:ext>
            </p:extLst>
          </p:nvPr>
        </p:nvGraphicFramePr>
        <p:xfrm>
          <a:off x="911051" y="1523163"/>
          <a:ext cx="7516167" cy="438108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613061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725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Wrapped </a:t>
            </a:r>
            <a:r>
              <a:rPr lang="en-US" sz="3200" dirty="0">
                <a:solidFill>
                  <a:srgbClr val="0094C3"/>
                </a:solidFill>
              </a:rPr>
              <a:t>Queries </a:t>
            </a:r>
          </a:p>
        </p:txBody>
      </p:sp>
      <p:graphicFrame>
        <p:nvGraphicFramePr>
          <p:cNvPr id="6" name="Diagram 5"/>
          <p:cNvGraphicFramePr/>
          <p:nvPr>
            <p:extLst>
              <p:ext uri="{D42A27DB-BD31-4B8C-83A1-F6EECF244321}">
                <p14:modId xmlns:p14="http://schemas.microsoft.com/office/powerpoint/2010/main" val="2076047788"/>
              </p:ext>
            </p:extLst>
          </p:nvPr>
        </p:nvGraphicFramePr>
        <p:xfrm>
          <a:off x="1125416" y="1469573"/>
          <a:ext cx="7221415" cy="45418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809450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82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accent1"/>
                </a:solidFill>
              </a:rPr>
              <a:t>Query </a:t>
            </a:r>
            <a:r>
              <a:rPr lang="en-US" sz="3200" dirty="0" smtClean="0">
                <a:solidFill>
                  <a:schemeClr val="accent1"/>
                </a:solidFill>
              </a:rPr>
              <a:t>Documents-Wrapped </a:t>
            </a:r>
            <a:r>
              <a:rPr lang="en-US" sz="3200" dirty="0">
                <a:solidFill>
                  <a:schemeClr val="accent1"/>
                </a:solidFill>
              </a:rPr>
              <a:t>Queries (Contd.)</a:t>
            </a:r>
          </a:p>
        </p:txBody>
      </p:sp>
      <p:graphicFrame>
        <p:nvGraphicFramePr>
          <p:cNvPr id="7" name="Diagram 6"/>
          <p:cNvGraphicFramePr/>
          <p:nvPr>
            <p:extLst>
              <p:ext uri="{D42A27DB-BD31-4B8C-83A1-F6EECF244321}">
                <p14:modId xmlns:p14="http://schemas.microsoft.com/office/powerpoint/2010/main" val="3600311151"/>
              </p:ext>
            </p:extLst>
          </p:nvPr>
        </p:nvGraphicFramePr>
        <p:xfrm>
          <a:off x="1125416" y="1718547"/>
          <a:ext cx="7221415" cy="2738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326949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74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Querying </a:t>
            </a:r>
            <a:r>
              <a:rPr lang="en-US" sz="3200" dirty="0">
                <a:solidFill>
                  <a:schemeClr val="tx2"/>
                </a:solidFill>
              </a:rPr>
              <a:t>on Embedded Document</a:t>
            </a:r>
          </a:p>
        </p:txBody>
      </p:sp>
      <p:graphicFrame>
        <p:nvGraphicFramePr>
          <p:cNvPr id="6" name="Diagram 5"/>
          <p:cNvGraphicFramePr/>
          <p:nvPr>
            <p:extLst>
              <p:ext uri="{D42A27DB-BD31-4B8C-83A1-F6EECF244321}">
                <p14:modId xmlns:p14="http://schemas.microsoft.com/office/powerpoint/2010/main" val="2688649041"/>
              </p:ext>
            </p:extLst>
          </p:nvPr>
        </p:nvGraphicFramePr>
        <p:xfrm>
          <a:off x="720969" y="2228501"/>
          <a:ext cx="7877908"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58329034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85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440187"/>
          </a:xfrm>
          <a:prstGeom prst="rect">
            <a:avLst/>
          </a:prstGeom>
        </p:spPr>
        <p:txBody>
          <a:bodyPr vert="horz" lIns="274642" tIns="30516" rIns="152579" bIns="30516" rtlCol="0" anchor="ctr">
            <a:noAutofit/>
          </a:bodyPr>
          <a:lstStyle/>
          <a:p>
            <a:pPr defTabSz="844029">
              <a:spcBef>
                <a:spcPct val="0"/>
              </a:spcBef>
            </a:pPr>
            <a:r>
              <a:rPr lang="en-US" sz="2800" dirty="0">
                <a:solidFill>
                  <a:schemeClr val="tx2"/>
                </a:solidFill>
              </a:rPr>
              <a:t>Query </a:t>
            </a:r>
            <a:r>
              <a:rPr lang="en-US" sz="2800" dirty="0" smtClean="0">
                <a:solidFill>
                  <a:schemeClr val="tx2"/>
                </a:solidFill>
              </a:rPr>
              <a:t>Documents: </a:t>
            </a:r>
            <a:r>
              <a:rPr lang="en-US" sz="2800" dirty="0">
                <a:solidFill>
                  <a:schemeClr val="tx2"/>
                </a:solidFill>
              </a:rPr>
              <a:t>Atomic Modifiers</a:t>
            </a:r>
          </a:p>
        </p:txBody>
      </p:sp>
      <p:grpSp>
        <p:nvGrpSpPr>
          <p:cNvPr id="2" name="Group 1"/>
          <p:cNvGrpSpPr/>
          <p:nvPr/>
        </p:nvGrpSpPr>
        <p:grpSpPr>
          <a:xfrm>
            <a:off x="467544" y="929905"/>
            <a:ext cx="8229600" cy="5497272"/>
            <a:chOff x="590636" y="1184882"/>
            <a:chExt cx="8106508" cy="4425006"/>
          </a:xfrm>
        </p:grpSpPr>
        <p:sp>
          <p:nvSpPr>
            <p:cNvPr id="3" name="Freeform 2"/>
            <p:cNvSpPr/>
            <p:nvPr/>
          </p:nvSpPr>
          <p:spPr>
            <a:xfrm>
              <a:off x="650631" y="1184882"/>
              <a:ext cx="7983415" cy="304932"/>
            </a:xfrm>
            <a:custGeom>
              <a:avLst/>
              <a:gdLst>
                <a:gd name="connsiteX0" fmla="*/ 0 w 7983415"/>
                <a:gd name="connsiteY0" fmla="*/ 50823 h 304932"/>
                <a:gd name="connsiteX1" fmla="*/ 50823 w 7983415"/>
                <a:gd name="connsiteY1" fmla="*/ 0 h 304932"/>
                <a:gd name="connsiteX2" fmla="*/ 7932592 w 7983415"/>
                <a:gd name="connsiteY2" fmla="*/ 0 h 304932"/>
                <a:gd name="connsiteX3" fmla="*/ 7983415 w 7983415"/>
                <a:gd name="connsiteY3" fmla="*/ 50823 h 304932"/>
                <a:gd name="connsiteX4" fmla="*/ 7983415 w 7983415"/>
                <a:gd name="connsiteY4" fmla="*/ 254109 h 304932"/>
                <a:gd name="connsiteX5" fmla="*/ 7932592 w 7983415"/>
                <a:gd name="connsiteY5" fmla="*/ 304932 h 304932"/>
                <a:gd name="connsiteX6" fmla="*/ 50823 w 7983415"/>
                <a:gd name="connsiteY6" fmla="*/ 304932 h 304932"/>
                <a:gd name="connsiteX7" fmla="*/ 0 w 7983415"/>
                <a:gd name="connsiteY7" fmla="*/ 254109 h 304932"/>
                <a:gd name="connsiteX8" fmla="*/ 0 w 7983415"/>
                <a:gd name="connsiteY8" fmla="*/ 50823 h 30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304932">
                  <a:moveTo>
                    <a:pt x="0" y="50823"/>
                  </a:moveTo>
                  <a:cubicBezTo>
                    <a:pt x="0" y="22754"/>
                    <a:pt x="22754" y="0"/>
                    <a:pt x="50823" y="0"/>
                  </a:cubicBezTo>
                  <a:lnTo>
                    <a:pt x="7932592" y="0"/>
                  </a:lnTo>
                  <a:cubicBezTo>
                    <a:pt x="7960661" y="0"/>
                    <a:pt x="7983415" y="22754"/>
                    <a:pt x="7983415" y="50823"/>
                  </a:cubicBezTo>
                  <a:lnTo>
                    <a:pt x="7983415" y="254109"/>
                  </a:lnTo>
                  <a:cubicBezTo>
                    <a:pt x="7983415" y="282178"/>
                    <a:pt x="7960661" y="304932"/>
                    <a:pt x="7932592" y="304932"/>
                  </a:cubicBezTo>
                  <a:lnTo>
                    <a:pt x="50823" y="304932"/>
                  </a:lnTo>
                  <a:cubicBezTo>
                    <a:pt x="22754" y="304932"/>
                    <a:pt x="0" y="282178"/>
                    <a:pt x="0" y="254109"/>
                  </a:cubicBezTo>
                  <a:lnTo>
                    <a:pt x="0" y="50823"/>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1086" tIns="91086" rIns="91086" bIns="91086"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c</a:t>
              </a:r>
              <a:endParaRPr lang="en-US" sz="2000" kern="1200" dirty="0">
                <a:solidFill>
                  <a:srgbClr val="000000"/>
                </a:solidFill>
              </a:endParaRPr>
            </a:p>
          </p:txBody>
        </p:sp>
        <p:sp>
          <p:nvSpPr>
            <p:cNvPr id="7" name="Freeform 6"/>
            <p:cNvSpPr/>
            <p:nvPr/>
          </p:nvSpPr>
          <p:spPr>
            <a:xfrm>
              <a:off x="650631" y="1538979"/>
              <a:ext cx="7983415" cy="546249"/>
            </a:xfrm>
            <a:custGeom>
              <a:avLst/>
              <a:gdLst>
                <a:gd name="connsiteX0" fmla="*/ 0 w 7983415"/>
                <a:gd name="connsiteY0" fmla="*/ 0 h 986698"/>
                <a:gd name="connsiteX1" fmla="*/ 7983415 w 7983415"/>
                <a:gd name="connsiteY1" fmla="*/ 0 h 986698"/>
                <a:gd name="connsiteX2" fmla="*/ 7983415 w 7983415"/>
                <a:gd name="connsiteY2" fmla="*/ 986698 h 986698"/>
                <a:gd name="connsiteX3" fmla="*/ 0 w 7983415"/>
                <a:gd name="connsiteY3" fmla="*/ 986698 h 986698"/>
                <a:gd name="connsiteX4" fmla="*/ 0 w 7983415"/>
                <a:gd name="connsiteY4" fmla="*/ 0 h 98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986698">
                  <a:moveTo>
                    <a:pt x="0" y="0"/>
                  </a:moveTo>
                  <a:lnTo>
                    <a:pt x="7983415" y="0"/>
                  </a:lnTo>
                  <a:lnTo>
                    <a:pt x="7983415" y="986698"/>
                  </a:lnTo>
                  <a:lnTo>
                    <a:pt x="0" y="9866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lastname</a:t>
              </a:r>
              <a:r>
                <a:rPr lang="en-US" sz="2000" kern="1200" dirty="0" smtClean="0">
                  <a:solidFill>
                    <a:srgbClr val="000000"/>
                  </a:solidFill>
                </a:rPr>
                <a:t>:"Kulkarni"},{$</a:t>
              </a:r>
              <a:r>
                <a:rPr lang="en-US" sz="2000" kern="1200" dirty="0" smtClean="0">
                  <a:solidFill>
                    <a:srgbClr val="000000"/>
                  </a:solidFill>
                </a:rPr>
                <a:t>inc</a:t>
              </a:r>
              <a:r>
                <a:rPr lang="en-US" sz="2000" kern="1200" dirty="0" smtClean="0">
                  <a:solidFill>
                    <a:srgbClr val="000000"/>
                  </a:solidFill>
                </a:rPr>
                <a:t>:{salary:320}})</a:t>
              </a:r>
              <a:endParaRPr lang="en-US" sz="2000" kern="1200" dirty="0">
                <a:solidFill>
                  <a:srgbClr val="000000"/>
                </a:solidFill>
              </a:endParaRPr>
            </a:p>
          </p:txBody>
        </p:sp>
        <p:sp>
          <p:nvSpPr>
            <p:cNvPr id="8" name="Freeform 7"/>
            <p:cNvSpPr/>
            <p:nvPr/>
          </p:nvSpPr>
          <p:spPr>
            <a:xfrm>
              <a:off x="713729" y="2057192"/>
              <a:ext cx="7983415" cy="352445"/>
            </a:xfrm>
            <a:custGeom>
              <a:avLst/>
              <a:gdLst>
                <a:gd name="connsiteX0" fmla="*/ 0 w 7983415"/>
                <a:gd name="connsiteY0" fmla="*/ 74305 h 445824"/>
                <a:gd name="connsiteX1" fmla="*/ 74305 w 7983415"/>
                <a:gd name="connsiteY1" fmla="*/ 0 h 445824"/>
                <a:gd name="connsiteX2" fmla="*/ 7909110 w 7983415"/>
                <a:gd name="connsiteY2" fmla="*/ 0 h 445824"/>
                <a:gd name="connsiteX3" fmla="*/ 7983415 w 7983415"/>
                <a:gd name="connsiteY3" fmla="*/ 74305 h 445824"/>
                <a:gd name="connsiteX4" fmla="*/ 7983415 w 7983415"/>
                <a:gd name="connsiteY4" fmla="*/ 371519 h 445824"/>
                <a:gd name="connsiteX5" fmla="*/ 7909110 w 7983415"/>
                <a:gd name="connsiteY5" fmla="*/ 445824 h 445824"/>
                <a:gd name="connsiteX6" fmla="*/ 74305 w 7983415"/>
                <a:gd name="connsiteY6" fmla="*/ 445824 h 445824"/>
                <a:gd name="connsiteX7" fmla="*/ 0 w 7983415"/>
                <a:gd name="connsiteY7" fmla="*/ 371519 h 445824"/>
                <a:gd name="connsiteX8" fmla="*/ 0 w 7983415"/>
                <a:gd name="connsiteY8" fmla="*/ 74305 h 4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445824">
                  <a:moveTo>
                    <a:pt x="0" y="74305"/>
                  </a:moveTo>
                  <a:cubicBezTo>
                    <a:pt x="0" y="33267"/>
                    <a:pt x="33267" y="0"/>
                    <a:pt x="74305" y="0"/>
                  </a:cubicBezTo>
                  <a:lnTo>
                    <a:pt x="7909110" y="0"/>
                  </a:lnTo>
                  <a:cubicBezTo>
                    <a:pt x="7950148" y="0"/>
                    <a:pt x="7983415" y="33267"/>
                    <a:pt x="7983415" y="74305"/>
                  </a:cubicBezTo>
                  <a:lnTo>
                    <a:pt x="7983415" y="371519"/>
                  </a:lnTo>
                  <a:cubicBezTo>
                    <a:pt x="7983415" y="412557"/>
                    <a:pt x="7950148" y="445824"/>
                    <a:pt x="7909110" y="445824"/>
                  </a:cubicBezTo>
                  <a:lnTo>
                    <a:pt x="74305" y="445824"/>
                  </a:lnTo>
                  <a:cubicBezTo>
                    <a:pt x="33267" y="445824"/>
                    <a:pt x="0" y="412557"/>
                    <a:pt x="0" y="371519"/>
                  </a:cubicBezTo>
                  <a:lnTo>
                    <a:pt x="0" y="74305"/>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7963" tIns="97963" rIns="97963" bIns="9796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t</a:t>
              </a:r>
            </a:p>
          </p:txBody>
        </p:sp>
        <p:sp>
          <p:nvSpPr>
            <p:cNvPr id="9" name="Freeform 8"/>
            <p:cNvSpPr/>
            <p:nvPr/>
          </p:nvSpPr>
          <p:spPr>
            <a:xfrm>
              <a:off x="650631" y="2459609"/>
              <a:ext cx="7983415" cy="424526"/>
            </a:xfrm>
            <a:custGeom>
              <a:avLst/>
              <a:gdLst>
                <a:gd name="connsiteX0" fmla="*/ 0 w 7983415"/>
                <a:gd name="connsiteY0" fmla="*/ 0 h 592992"/>
                <a:gd name="connsiteX1" fmla="*/ 7983415 w 7983415"/>
                <a:gd name="connsiteY1" fmla="*/ 0 h 592992"/>
                <a:gd name="connsiteX2" fmla="*/ 7983415 w 7983415"/>
                <a:gd name="connsiteY2" fmla="*/ 592992 h 592992"/>
                <a:gd name="connsiteX3" fmla="*/ 0 w 7983415"/>
                <a:gd name="connsiteY3" fmla="*/ 592992 h 592992"/>
                <a:gd name="connsiteX4" fmla="*/ 0 w 7983415"/>
                <a:gd name="connsiteY4" fmla="*/ 0 h 592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592992">
                  <a:moveTo>
                    <a:pt x="0" y="0"/>
                  </a:moveTo>
                  <a:lnTo>
                    <a:pt x="7983415" y="0"/>
                  </a:lnTo>
                  <a:lnTo>
                    <a:pt x="7983415" y="592992"/>
                  </a:lnTo>
                  <a:lnTo>
                    <a:pt x="0" y="5929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shilpa</a:t>
              </a:r>
              <a:r>
                <a:rPr lang="en-US" sz="2000" kern="1200" dirty="0" smtClean="0">
                  <a:solidFill>
                    <a:srgbClr val="000000"/>
                  </a:solidFill>
                </a:rPr>
                <a:t>"},{$set:{</a:t>
              </a:r>
              <a:r>
                <a:rPr lang="en-US" sz="2000" kern="1200" dirty="0" smtClean="0">
                  <a:solidFill>
                    <a:srgbClr val="000000"/>
                  </a:solidFill>
                </a:rPr>
                <a:t>gender:"Female</a:t>
              </a:r>
              <a:r>
                <a:rPr lang="en-US" sz="2000" kern="1200" dirty="0" smtClean="0">
                  <a:solidFill>
                    <a:srgbClr val="000000"/>
                  </a:solidFill>
                </a:rPr>
                <a:t>"}})</a:t>
              </a:r>
            </a:p>
          </p:txBody>
        </p:sp>
        <p:sp>
          <p:nvSpPr>
            <p:cNvPr id="10" name="Freeform 9"/>
            <p:cNvSpPr/>
            <p:nvPr/>
          </p:nvSpPr>
          <p:spPr>
            <a:xfrm>
              <a:off x="713729" y="2993726"/>
              <a:ext cx="7983415" cy="383107"/>
            </a:xfrm>
            <a:custGeom>
              <a:avLst/>
              <a:gdLst>
                <a:gd name="connsiteX0" fmla="*/ 0 w 7983415"/>
                <a:gd name="connsiteY0" fmla="*/ 96627 h 579753"/>
                <a:gd name="connsiteX1" fmla="*/ 96627 w 7983415"/>
                <a:gd name="connsiteY1" fmla="*/ 0 h 579753"/>
                <a:gd name="connsiteX2" fmla="*/ 7886788 w 7983415"/>
                <a:gd name="connsiteY2" fmla="*/ 0 h 579753"/>
                <a:gd name="connsiteX3" fmla="*/ 7983415 w 7983415"/>
                <a:gd name="connsiteY3" fmla="*/ 96627 h 579753"/>
                <a:gd name="connsiteX4" fmla="*/ 7983415 w 7983415"/>
                <a:gd name="connsiteY4" fmla="*/ 483126 h 579753"/>
                <a:gd name="connsiteX5" fmla="*/ 7886788 w 7983415"/>
                <a:gd name="connsiteY5" fmla="*/ 579753 h 579753"/>
                <a:gd name="connsiteX6" fmla="*/ 96627 w 7983415"/>
                <a:gd name="connsiteY6" fmla="*/ 579753 h 579753"/>
                <a:gd name="connsiteX7" fmla="*/ 0 w 7983415"/>
                <a:gd name="connsiteY7" fmla="*/ 483126 h 579753"/>
                <a:gd name="connsiteX8" fmla="*/ 0 w 7983415"/>
                <a:gd name="connsiteY8" fmla="*/ 96627 h 57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579753">
                  <a:moveTo>
                    <a:pt x="0" y="96627"/>
                  </a:moveTo>
                  <a:cubicBezTo>
                    <a:pt x="0" y="43261"/>
                    <a:pt x="43261" y="0"/>
                    <a:pt x="96627" y="0"/>
                  </a:cubicBezTo>
                  <a:lnTo>
                    <a:pt x="7886788" y="0"/>
                  </a:lnTo>
                  <a:cubicBezTo>
                    <a:pt x="7940154" y="0"/>
                    <a:pt x="7983415" y="43261"/>
                    <a:pt x="7983415" y="96627"/>
                  </a:cubicBezTo>
                  <a:lnTo>
                    <a:pt x="7983415" y="483126"/>
                  </a:lnTo>
                  <a:cubicBezTo>
                    <a:pt x="7983415" y="536492"/>
                    <a:pt x="7940154" y="579753"/>
                    <a:pt x="7886788" y="579753"/>
                  </a:cubicBezTo>
                  <a:lnTo>
                    <a:pt x="96627" y="579753"/>
                  </a:lnTo>
                  <a:cubicBezTo>
                    <a:pt x="43261" y="579753"/>
                    <a:pt x="0" y="536492"/>
                    <a:pt x="0" y="483126"/>
                  </a:cubicBezTo>
                  <a:lnTo>
                    <a:pt x="0" y="96627"/>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4501" tIns="104501" rIns="104501" bIns="104501"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push (for atomically adding values to an array)</a:t>
              </a:r>
            </a:p>
          </p:txBody>
        </p:sp>
        <p:sp>
          <p:nvSpPr>
            <p:cNvPr id="11" name="Freeform 10"/>
            <p:cNvSpPr/>
            <p:nvPr/>
          </p:nvSpPr>
          <p:spPr>
            <a:xfrm>
              <a:off x="590636" y="3529387"/>
              <a:ext cx="7983415" cy="431535"/>
            </a:xfrm>
            <a:custGeom>
              <a:avLst/>
              <a:gdLst>
                <a:gd name="connsiteX0" fmla="*/ 0 w 7983415"/>
                <a:gd name="connsiteY0" fmla="*/ 0 h 512858"/>
                <a:gd name="connsiteX1" fmla="*/ 7983415 w 7983415"/>
                <a:gd name="connsiteY1" fmla="*/ 0 h 512858"/>
                <a:gd name="connsiteX2" fmla="*/ 7983415 w 7983415"/>
                <a:gd name="connsiteY2" fmla="*/ 512858 h 512858"/>
                <a:gd name="connsiteX3" fmla="*/ 0 w 7983415"/>
                <a:gd name="connsiteY3" fmla="*/ 512858 h 512858"/>
                <a:gd name="connsiteX4" fmla="*/ 0 w 7983415"/>
                <a:gd name="connsiteY4" fmla="*/ 0 h 5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512858">
                  <a:moveTo>
                    <a:pt x="0" y="0"/>
                  </a:moveTo>
                  <a:lnTo>
                    <a:pt x="7983415" y="0"/>
                  </a:lnTo>
                  <a:lnTo>
                    <a:pt x="7983415" y="512858"/>
                  </a:lnTo>
                  <a:lnTo>
                    <a:pt x="0" y="51285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push:{</a:t>
              </a:r>
              <a:r>
                <a:rPr lang="en-US" sz="2000" kern="1200" dirty="0" smtClean="0">
                  <a:solidFill>
                    <a:srgbClr val="000000"/>
                  </a:solidFill>
                </a:rPr>
                <a:t>foodILike</a:t>
              </a:r>
              <a:r>
                <a:rPr lang="en-US" sz="2000" kern="1200" dirty="0" smtClean="0">
                  <a:solidFill>
                    <a:srgbClr val="000000"/>
                  </a:solidFill>
                </a:rPr>
                <a:t>:"Rice"}})</a:t>
              </a:r>
            </a:p>
          </p:txBody>
        </p:sp>
        <p:sp>
          <p:nvSpPr>
            <p:cNvPr id="12" name="Freeform 11"/>
            <p:cNvSpPr/>
            <p:nvPr/>
          </p:nvSpPr>
          <p:spPr>
            <a:xfrm>
              <a:off x="650631" y="4087151"/>
              <a:ext cx="7983415" cy="257786"/>
            </a:xfrm>
            <a:custGeom>
              <a:avLst/>
              <a:gdLst>
                <a:gd name="connsiteX0" fmla="*/ 0 w 7983415"/>
                <a:gd name="connsiteY0" fmla="*/ 27866 h 167195"/>
                <a:gd name="connsiteX1" fmla="*/ 27866 w 7983415"/>
                <a:gd name="connsiteY1" fmla="*/ 0 h 167195"/>
                <a:gd name="connsiteX2" fmla="*/ 7955549 w 7983415"/>
                <a:gd name="connsiteY2" fmla="*/ 0 h 167195"/>
                <a:gd name="connsiteX3" fmla="*/ 7983415 w 7983415"/>
                <a:gd name="connsiteY3" fmla="*/ 27866 h 167195"/>
                <a:gd name="connsiteX4" fmla="*/ 7983415 w 7983415"/>
                <a:gd name="connsiteY4" fmla="*/ 139329 h 167195"/>
                <a:gd name="connsiteX5" fmla="*/ 7955549 w 7983415"/>
                <a:gd name="connsiteY5" fmla="*/ 167195 h 167195"/>
                <a:gd name="connsiteX6" fmla="*/ 27866 w 7983415"/>
                <a:gd name="connsiteY6" fmla="*/ 167195 h 167195"/>
                <a:gd name="connsiteX7" fmla="*/ 0 w 7983415"/>
                <a:gd name="connsiteY7" fmla="*/ 139329 h 167195"/>
                <a:gd name="connsiteX8" fmla="*/ 0 w 7983415"/>
                <a:gd name="connsiteY8" fmla="*/ 27866 h 16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167195">
                  <a:moveTo>
                    <a:pt x="0" y="27866"/>
                  </a:moveTo>
                  <a:cubicBezTo>
                    <a:pt x="0" y="12476"/>
                    <a:pt x="12476" y="0"/>
                    <a:pt x="27866" y="0"/>
                  </a:cubicBezTo>
                  <a:lnTo>
                    <a:pt x="7955549" y="0"/>
                  </a:lnTo>
                  <a:cubicBezTo>
                    <a:pt x="7970939" y="0"/>
                    <a:pt x="7983415" y="12476"/>
                    <a:pt x="7983415" y="27866"/>
                  </a:cubicBezTo>
                  <a:lnTo>
                    <a:pt x="7983415" y="139329"/>
                  </a:lnTo>
                  <a:cubicBezTo>
                    <a:pt x="7983415" y="154719"/>
                    <a:pt x="7970939" y="167195"/>
                    <a:pt x="7955549" y="167195"/>
                  </a:cubicBezTo>
                  <a:lnTo>
                    <a:pt x="27866" y="167195"/>
                  </a:lnTo>
                  <a:cubicBezTo>
                    <a:pt x="12476" y="167195"/>
                    <a:pt x="0" y="154719"/>
                    <a:pt x="0" y="139329"/>
                  </a:cubicBezTo>
                  <a:lnTo>
                    <a:pt x="0" y="27866"/>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4362" tIns="84362" rIns="84362" bIns="84362"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findAndModify</a:t>
              </a:r>
              <a:r>
                <a:rPr lang="en-US" sz="2000" kern="1200" dirty="0" smtClean="0">
                  <a:solidFill>
                    <a:srgbClr val="000000"/>
                  </a:solidFill>
                </a:rPr>
                <a:t>()</a:t>
              </a:r>
            </a:p>
          </p:txBody>
        </p:sp>
        <p:sp>
          <p:nvSpPr>
            <p:cNvPr id="13" name="Freeform 12"/>
            <p:cNvSpPr/>
            <p:nvPr/>
          </p:nvSpPr>
          <p:spPr>
            <a:xfrm>
              <a:off x="611508" y="4449210"/>
              <a:ext cx="7983415" cy="1160678"/>
            </a:xfrm>
            <a:custGeom>
              <a:avLst/>
              <a:gdLst>
                <a:gd name="connsiteX0" fmla="*/ 0 w 7983415"/>
                <a:gd name="connsiteY0" fmla="*/ 0 h 1933392"/>
                <a:gd name="connsiteX1" fmla="*/ 7983415 w 7983415"/>
                <a:gd name="connsiteY1" fmla="*/ 0 h 1933392"/>
                <a:gd name="connsiteX2" fmla="*/ 7983415 w 7983415"/>
                <a:gd name="connsiteY2" fmla="*/ 1933392 h 1933392"/>
                <a:gd name="connsiteX3" fmla="*/ 0 w 7983415"/>
                <a:gd name="connsiteY3" fmla="*/ 1933392 h 1933392"/>
                <a:gd name="connsiteX4" fmla="*/ 0 w 7983415"/>
                <a:gd name="connsiteY4" fmla="*/ 0 h 1933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1933392">
                  <a:moveTo>
                    <a:pt x="0" y="0"/>
                  </a:moveTo>
                  <a:lnTo>
                    <a:pt x="7983415" y="0"/>
                  </a:lnTo>
                  <a:lnTo>
                    <a:pt x="7983415" y="1933392"/>
                  </a:lnTo>
                  <a:lnTo>
                    <a:pt x="0" y="19333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defTabSz="889000">
                <a:lnSpc>
                  <a:spcPct val="90000"/>
                </a:lnSpc>
                <a:spcBef>
                  <a:spcPct val="0"/>
                </a:spcBef>
                <a:spcAft>
                  <a:spcPct val="20000"/>
                </a:spcAft>
                <a:buChar char="••"/>
              </a:pPr>
              <a:r>
                <a:rPr lang="en-US" sz="1400" dirty="0">
                  <a:solidFill>
                    <a:srgbClr val="000000"/>
                  </a:solidFill>
                </a:rPr>
                <a:t>db.employees.findAndModify</a:t>
              </a: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    query: { </a:t>
              </a:r>
              <a:r>
                <a:rPr lang="en-US" sz="1400" dirty="0">
                  <a:solidFill>
                    <a:srgbClr val="000000"/>
                  </a:solidFill>
                </a:rPr>
                <a:t>lastname</a:t>
              </a:r>
              <a:r>
                <a:rPr lang="en-US" sz="1400" dirty="0">
                  <a:solidFill>
                    <a:srgbClr val="000000"/>
                  </a:solidFill>
                </a:rPr>
                <a:t>: "</a:t>
              </a:r>
              <a:r>
                <a:rPr lang="en-US" sz="1400" dirty="0">
                  <a:solidFill>
                    <a:srgbClr val="000000"/>
                  </a:solidFill>
                </a:rPr>
                <a:t>bhosale</a:t>
              </a:r>
              <a:r>
                <a:rPr lang="en-US" sz="1400" dirty="0" smtClean="0">
                  <a:solidFill>
                    <a:srgbClr val="000000"/>
                  </a:solidFill>
                </a:rPr>
                <a:t>", </a:t>
              </a:r>
              <a:r>
                <a:rPr lang="en-US" sz="1400" dirty="0">
                  <a:solidFill>
                    <a:srgbClr val="000000"/>
                  </a:solidFill>
                </a:rPr>
                <a:t>salary: { $</a:t>
              </a:r>
              <a:r>
                <a:rPr lang="en-US" sz="1400" dirty="0">
                  <a:solidFill>
                    <a:srgbClr val="000000"/>
                  </a:solidFill>
                </a:rPr>
                <a:t>gt</a:t>
              </a:r>
              <a:r>
                <a:rPr lang="en-US" sz="1400" dirty="0">
                  <a:solidFill>
                    <a:srgbClr val="000000"/>
                  </a:solidFill>
                </a:rPr>
                <a:t>: 44000 </a:t>
              </a:r>
              <a:r>
                <a:rPr lang="en-US" sz="1400" dirty="0" smtClean="0">
                  <a:solidFill>
                    <a:srgbClr val="000000"/>
                  </a:solidFill>
                </a:rPr>
                <a:t>}  </a:t>
              </a: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    sort: { age: 1 },</a:t>
              </a:r>
            </a:p>
            <a:p>
              <a:pPr marL="228600" lvl="1" indent="-228600" defTabSz="889000">
                <a:lnSpc>
                  <a:spcPct val="90000"/>
                </a:lnSpc>
                <a:spcBef>
                  <a:spcPct val="0"/>
                </a:spcBef>
                <a:spcAft>
                  <a:spcPct val="20000"/>
                </a:spcAft>
                <a:buChar char="••"/>
              </a:pPr>
              <a:r>
                <a:rPr lang="en-US" sz="1400" dirty="0">
                  <a:solidFill>
                    <a:srgbClr val="000000"/>
                  </a:solidFill>
                </a:rPr>
                <a:t>    update: { $</a:t>
              </a:r>
              <a:r>
                <a:rPr lang="en-US" sz="1400" dirty="0">
                  <a:solidFill>
                    <a:srgbClr val="000000"/>
                  </a:solidFill>
                </a:rPr>
                <a:t>inc</a:t>
              </a:r>
              <a:r>
                <a:rPr lang="en-US" sz="1400" dirty="0">
                  <a:solidFill>
                    <a:srgbClr val="000000"/>
                  </a:solidFill>
                </a:rPr>
                <a:t>: { salary: 1 } },</a:t>
              </a:r>
            </a:p>
            <a:p>
              <a:pPr marL="228600" lvl="1" indent="-228600" defTabSz="889000">
                <a:lnSpc>
                  <a:spcPct val="90000"/>
                </a:lnSpc>
                <a:spcBef>
                  <a:spcPct val="0"/>
                </a:spcBef>
                <a:spcAft>
                  <a:spcPct val="20000"/>
                </a:spcAft>
                <a:buChar char="••"/>
              </a:pPr>
              <a:r>
                <a:rPr lang="en-US" sz="1400" dirty="0">
                  <a:solidFill>
                    <a:srgbClr val="000000"/>
                  </a:solidFill>
                </a:rPr>
                <a:t>	 </a:t>
              </a:r>
              <a:r>
                <a:rPr lang="en-US" sz="1400" dirty="0" smtClean="0">
                  <a:solidFill>
                    <a:srgbClr val="000000"/>
                  </a:solidFill>
                </a:rPr>
                <a:t>upsert:true</a:t>
              </a:r>
              <a:r>
                <a:rPr lang="en-US" sz="1400" dirty="0" smtClean="0">
                  <a:solidFill>
                    <a:srgbClr val="000000"/>
                  </a:solidFill>
                </a:rPr>
                <a:t>})</a:t>
              </a:r>
              <a:endParaRPr lang="en-US" sz="1400" dirty="0">
                <a:solidFill>
                  <a:srgbClr val="000000"/>
                </a:solidFill>
              </a:endParaRPr>
            </a:p>
          </p:txBody>
        </p:sp>
      </p:grpSp>
    </p:spTree>
    <p:extLst>
      <p:ext uri="{BB962C8B-B14F-4D97-AF65-F5344CB8AC3E}">
        <p14:creationId xmlns:p14="http://schemas.microsoft.com/office/powerpoint/2010/main" val="15741312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95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 </a:t>
            </a:r>
            <a:r>
              <a:rPr lang="en-US" sz="3200" dirty="0">
                <a:solidFill>
                  <a:schemeClr val="tx2"/>
                </a:solidFill>
              </a:rPr>
              <a:t>Atomic Modifiers (Contd.)</a:t>
            </a:r>
          </a:p>
        </p:txBody>
      </p:sp>
      <p:graphicFrame>
        <p:nvGraphicFramePr>
          <p:cNvPr id="6" name="Diagram 5"/>
          <p:cNvGraphicFramePr/>
          <p:nvPr>
            <p:extLst>
              <p:ext uri="{D42A27DB-BD31-4B8C-83A1-F6EECF244321}">
                <p14:modId xmlns:p14="http://schemas.microsoft.com/office/powerpoint/2010/main" val="3421867220"/>
              </p:ext>
            </p:extLst>
          </p:nvPr>
        </p:nvGraphicFramePr>
        <p:xfrm>
          <a:off x="685800" y="1718547"/>
          <a:ext cx="798341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7907097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056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Query </a:t>
            </a:r>
            <a:r>
              <a:rPr lang="en-US" sz="3200" dirty="0">
                <a:solidFill>
                  <a:schemeClr val="accent1"/>
                </a:solidFill>
              </a:rPr>
              <a:t>Behavior</a:t>
            </a:r>
          </a:p>
        </p:txBody>
      </p:sp>
      <p:graphicFrame>
        <p:nvGraphicFramePr>
          <p:cNvPr id="6" name="Diagram 5"/>
          <p:cNvGraphicFramePr/>
          <p:nvPr/>
        </p:nvGraphicFramePr>
        <p:xfrm>
          <a:off x="703385" y="1512278"/>
          <a:ext cx="7895492" cy="42702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335581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15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2400" dirty="0">
                <a:solidFill>
                  <a:schemeClr val="tx2"/>
                </a:solidFill>
              </a:rPr>
              <a:t>Query </a:t>
            </a:r>
            <a:r>
              <a:rPr lang="en-US" sz="2400" dirty="0" smtClean="0">
                <a:solidFill>
                  <a:schemeClr val="tx2"/>
                </a:solidFill>
              </a:rPr>
              <a:t>Documents-The </a:t>
            </a:r>
            <a:r>
              <a:rPr lang="en-US" sz="2400" dirty="0">
                <a:solidFill>
                  <a:schemeClr val="tx2"/>
                </a:solidFill>
              </a:rPr>
              <a:t>limit() &amp; Skip method()</a:t>
            </a:r>
          </a:p>
        </p:txBody>
      </p:sp>
      <p:grpSp>
        <p:nvGrpSpPr>
          <p:cNvPr id="2" name="Group 1"/>
          <p:cNvGrpSpPr/>
          <p:nvPr/>
        </p:nvGrpSpPr>
        <p:grpSpPr>
          <a:xfrm>
            <a:off x="597877" y="1288973"/>
            <a:ext cx="8124092" cy="5211241"/>
            <a:chOff x="597877" y="1534259"/>
            <a:chExt cx="8124092" cy="4965955"/>
          </a:xfrm>
        </p:grpSpPr>
        <p:sp>
          <p:nvSpPr>
            <p:cNvPr id="3" name="Freeform 2"/>
            <p:cNvSpPr/>
            <p:nvPr/>
          </p:nvSpPr>
          <p:spPr>
            <a:xfrm>
              <a:off x="597877" y="1534259"/>
              <a:ext cx="8124092" cy="1217079"/>
            </a:xfrm>
            <a:custGeom>
              <a:avLst/>
              <a:gdLst>
                <a:gd name="connsiteX0" fmla="*/ 0 w 8124092"/>
                <a:gd name="connsiteY0" fmla="*/ 202851 h 1217080"/>
                <a:gd name="connsiteX1" fmla="*/ 202851 w 8124092"/>
                <a:gd name="connsiteY1" fmla="*/ 0 h 1217080"/>
                <a:gd name="connsiteX2" fmla="*/ 7921241 w 8124092"/>
                <a:gd name="connsiteY2" fmla="*/ 0 h 1217080"/>
                <a:gd name="connsiteX3" fmla="*/ 8124092 w 8124092"/>
                <a:gd name="connsiteY3" fmla="*/ 202851 h 1217080"/>
                <a:gd name="connsiteX4" fmla="*/ 8124092 w 8124092"/>
                <a:gd name="connsiteY4" fmla="*/ 1014229 h 1217080"/>
                <a:gd name="connsiteX5" fmla="*/ 7921241 w 8124092"/>
                <a:gd name="connsiteY5" fmla="*/ 1217080 h 1217080"/>
                <a:gd name="connsiteX6" fmla="*/ 202851 w 8124092"/>
                <a:gd name="connsiteY6" fmla="*/ 1217080 h 1217080"/>
                <a:gd name="connsiteX7" fmla="*/ 0 w 8124092"/>
                <a:gd name="connsiteY7" fmla="*/ 1014229 h 1217080"/>
                <a:gd name="connsiteX8" fmla="*/ 0 w 8124092"/>
                <a:gd name="connsiteY8" fmla="*/ 202851 h 12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1217080">
                  <a:moveTo>
                    <a:pt x="0" y="202851"/>
                  </a:moveTo>
                  <a:cubicBezTo>
                    <a:pt x="0" y="90819"/>
                    <a:pt x="90819" y="0"/>
                    <a:pt x="202851" y="0"/>
                  </a:cubicBezTo>
                  <a:lnTo>
                    <a:pt x="7921241" y="0"/>
                  </a:lnTo>
                  <a:cubicBezTo>
                    <a:pt x="8033273" y="0"/>
                    <a:pt x="8124092" y="90819"/>
                    <a:pt x="8124092" y="202851"/>
                  </a:cubicBezTo>
                  <a:lnTo>
                    <a:pt x="8124092" y="1014229"/>
                  </a:lnTo>
                  <a:cubicBezTo>
                    <a:pt x="8124092" y="1126261"/>
                    <a:pt x="8033273" y="1217080"/>
                    <a:pt x="7921241" y="1217080"/>
                  </a:cubicBezTo>
                  <a:lnTo>
                    <a:pt x="202851" y="1217080"/>
                  </a:lnTo>
                  <a:cubicBezTo>
                    <a:pt x="90819" y="1217080"/>
                    <a:pt x="0" y="1126261"/>
                    <a:pt x="0" y="1014229"/>
                  </a:cubicBezTo>
                  <a:lnTo>
                    <a:pt x="0" y="202851"/>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5613" tIns="135613" rIns="135613" bIns="13561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limit the records in MongoDB, you need to use </a:t>
              </a:r>
              <a:r>
                <a:rPr lang="en-US" sz="2000" b="1" kern="1200" dirty="0" smtClean="0">
                  <a:solidFill>
                    <a:srgbClr val="000000"/>
                  </a:solidFill>
                </a:rPr>
                <a:t>limit()</a:t>
              </a:r>
              <a:r>
                <a:rPr lang="en-US" sz="2000" kern="1200" dirty="0" smtClean="0">
                  <a:solidFill>
                    <a:srgbClr val="000000"/>
                  </a:solidFill>
                </a:rPr>
                <a:t> method. </a:t>
              </a:r>
              <a:r>
                <a:rPr lang="en-US" sz="2000" b="1" kern="1200" dirty="0" smtClean="0">
                  <a:solidFill>
                    <a:srgbClr val="000000"/>
                  </a:solidFill>
                </a:rPr>
                <a:t>limit()</a:t>
              </a:r>
              <a:r>
                <a:rPr lang="en-US" sz="2000" kern="1200" dirty="0" smtClean="0">
                  <a:solidFill>
                    <a:srgbClr val="000000"/>
                  </a:solidFill>
                </a:rPr>
                <a:t> method accepts one number type argument, which is number of documents that you want to displayed.</a:t>
              </a:r>
              <a:endParaRPr lang="en-US" sz="2000" kern="1200" dirty="0">
                <a:solidFill>
                  <a:srgbClr val="000000"/>
                </a:solidFill>
              </a:endParaRPr>
            </a:p>
          </p:txBody>
        </p:sp>
        <p:sp>
          <p:nvSpPr>
            <p:cNvPr id="7" name="Freeform 6"/>
            <p:cNvSpPr/>
            <p:nvPr/>
          </p:nvSpPr>
          <p:spPr>
            <a:xfrm>
              <a:off x="597877" y="2751339"/>
              <a:ext cx="8124092" cy="875520"/>
            </a:xfrm>
            <a:custGeom>
              <a:avLst/>
              <a:gdLst>
                <a:gd name="connsiteX0" fmla="*/ 0 w 8124092"/>
                <a:gd name="connsiteY0" fmla="*/ 0 h 1059840"/>
                <a:gd name="connsiteX1" fmla="*/ 8124092 w 8124092"/>
                <a:gd name="connsiteY1" fmla="*/ 0 h 1059840"/>
                <a:gd name="connsiteX2" fmla="*/ 8124092 w 8124092"/>
                <a:gd name="connsiteY2" fmla="*/ 1059840 h 1059840"/>
                <a:gd name="connsiteX3" fmla="*/ 0 w 8124092"/>
                <a:gd name="connsiteY3" fmla="*/ 1059840 h 1059840"/>
                <a:gd name="connsiteX4" fmla="*/ 0 w 8124092"/>
                <a:gd name="connsiteY4" fmla="*/ 0 h 1059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4092" h="1059840">
                  <a:moveTo>
                    <a:pt x="0" y="0"/>
                  </a:moveTo>
                  <a:lnTo>
                    <a:pt x="8124092" y="0"/>
                  </a:lnTo>
                  <a:lnTo>
                    <a:pt x="8124092" y="1059840"/>
                  </a:lnTo>
                  <a:lnTo>
                    <a:pt x="0" y="10598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7940" tIns="25400" rIns="142240" bIns="25400" numCol="1" spcCol="1270" anchor="t" anchorCtr="0">
              <a:noAutofit/>
            </a:bodyPr>
            <a:lstStyle/>
            <a:p>
              <a:pPr marL="228600" lvl="1" indent="-228600" defTabSz="889000">
                <a:lnSpc>
                  <a:spcPct val="90000"/>
                </a:lnSpc>
                <a:spcBef>
                  <a:spcPct val="0"/>
                </a:spcBef>
                <a:spcAft>
                  <a:spcPct val="20000"/>
                </a:spcAft>
                <a:buChar char="••"/>
              </a:pPr>
              <a:r>
                <a:rPr lang="en-US" sz="2000" dirty="0" smtClean="0">
                  <a:solidFill>
                    <a:srgbClr val="000000"/>
                  </a:solidFill>
                </a:rPr>
                <a:t>&gt;db.employees.find</a:t>
              </a:r>
              <a:r>
                <a:rPr lang="en-US" sz="2000" dirty="0">
                  <a:solidFill>
                    <a:srgbClr val="000000"/>
                  </a:solidFill>
                </a:rPr>
                <a:t>({age:{$gt:50}},{firstname:1,lastname:1,age:1}).limit(5).pretty()    </a:t>
              </a:r>
              <a:endParaRPr lang="en-US" sz="2000" kern="1200" dirty="0" smtClean="0">
                <a:solidFill>
                  <a:srgbClr val="000000"/>
                </a:solidFill>
              </a:endParaRPr>
            </a:p>
          </p:txBody>
        </p:sp>
        <p:sp>
          <p:nvSpPr>
            <p:cNvPr id="8" name="Freeform 7"/>
            <p:cNvSpPr/>
            <p:nvPr/>
          </p:nvSpPr>
          <p:spPr>
            <a:xfrm>
              <a:off x="597877" y="3626859"/>
              <a:ext cx="8124092" cy="384809"/>
            </a:xfrm>
            <a:custGeom>
              <a:avLst/>
              <a:gdLst>
                <a:gd name="connsiteX0" fmla="*/ 0 w 8124092"/>
                <a:gd name="connsiteY0" fmla="*/ 33416 h 200489"/>
                <a:gd name="connsiteX1" fmla="*/ 33416 w 8124092"/>
                <a:gd name="connsiteY1" fmla="*/ 0 h 200489"/>
                <a:gd name="connsiteX2" fmla="*/ 8090676 w 8124092"/>
                <a:gd name="connsiteY2" fmla="*/ 0 h 200489"/>
                <a:gd name="connsiteX3" fmla="*/ 8124092 w 8124092"/>
                <a:gd name="connsiteY3" fmla="*/ 33416 h 200489"/>
                <a:gd name="connsiteX4" fmla="*/ 8124092 w 8124092"/>
                <a:gd name="connsiteY4" fmla="*/ 167073 h 200489"/>
                <a:gd name="connsiteX5" fmla="*/ 8090676 w 8124092"/>
                <a:gd name="connsiteY5" fmla="*/ 200489 h 200489"/>
                <a:gd name="connsiteX6" fmla="*/ 33416 w 8124092"/>
                <a:gd name="connsiteY6" fmla="*/ 200489 h 200489"/>
                <a:gd name="connsiteX7" fmla="*/ 0 w 8124092"/>
                <a:gd name="connsiteY7" fmla="*/ 167073 h 200489"/>
                <a:gd name="connsiteX8" fmla="*/ 0 w 8124092"/>
                <a:gd name="connsiteY8" fmla="*/ 33416 h 20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200489">
                  <a:moveTo>
                    <a:pt x="0" y="33416"/>
                  </a:moveTo>
                  <a:cubicBezTo>
                    <a:pt x="0" y="14961"/>
                    <a:pt x="14961" y="0"/>
                    <a:pt x="33416" y="0"/>
                  </a:cubicBezTo>
                  <a:lnTo>
                    <a:pt x="8090676" y="0"/>
                  </a:lnTo>
                  <a:cubicBezTo>
                    <a:pt x="8109131" y="0"/>
                    <a:pt x="8124092" y="14961"/>
                    <a:pt x="8124092" y="33416"/>
                  </a:cubicBezTo>
                  <a:lnTo>
                    <a:pt x="8124092" y="167073"/>
                  </a:lnTo>
                  <a:cubicBezTo>
                    <a:pt x="8124092" y="185528"/>
                    <a:pt x="8109131" y="200489"/>
                    <a:pt x="8090676" y="200489"/>
                  </a:cubicBezTo>
                  <a:lnTo>
                    <a:pt x="33416" y="200489"/>
                  </a:lnTo>
                  <a:cubicBezTo>
                    <a:pt x="14961" y="200489"/>
                    <a:pt x="0" y="185528"/>
                    <a:pt x="0" y="167073"/>
                  </a:cubicBezTo>
                  <a:lnTo>
                    <a:pt x="0" y="33416"/>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5987" tIns="85987" rIns="85987" bIns="85987"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KIP method()</a:t>
              </a:r>
            </a:p>
          </p:txBody>
        </p:sp>
        <p:sp>
          <p:nvSpPr>
            <p:cNvPr id="9" name="Freeform 8"/>
            <p:cNvSpPr/>
            <p:nvPr/>
          </p:nvSpPr>
          <p:spPr>
            <a:xfrm>
              <a:off x="597877" y="4195988"/>
              <a:ext cx="8124092" cy="1066727"/>
            </a:xfrm>
            <a:custGeom>
              <a:avLst/>
              <a:gdLst>
                <a:gd name="connsiteX0" fmla="*/ 0 w 8124092"/>
                <a:gd name="connsiteY0" fmla="*/ 177791 h 1066727"/>
                <a:gd name="connsiteX1" fmla="*/ 177791 w 8124092"/>
                <a:gd name="connsiteY1" fmla="*/ 0 h 1066727"/>
                <a:gd name="connsiteX2" fmla="*/ 7946301 w 8124092"/>
                <a:gd name="connsiteY2" fmla="*/ 0 h 1066727"/>
                <a:gd name="connsiteX3" fmla="*/ 8124092 w 8124092"/>
                <a:gd name="connsiteY3" fmla="*/ 177791 h 1066727"/>
                <a:gd name="connsiteX4" fmla="*/ 8124092 w 8124092"/>
                <a:gd name="connsiteY4" fmla="*/ 888936 h 1066727"/>
                <a:gd name="connsiteX5" fmla="*/ 7946301 w 8124092"/>
                <a:gd name="connsiteY5" fmla="*/ 1066727 h 1066727"/>
                <a:gd name="connsiteX6" fmla="*/ 177791 w 8124092"/>
                <a:gd name="connsiteY6" fmla="*/ 1066727 h 1066727"/>
                <a:gd name="connsiteX7" fmla="*/ 0 w 8124092"/>
                <a:gd name="connsiteY7" fmla="*/ 888936 h 1066727"/>
                <a:gd name="connsiteX8" fmla="*/ 0 w 8124092"/>
                <a:gd name="connsiteY8" fmla="*/ 177791 h 106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1066727">
                  <a:moveTo>
                    <a:pt x="0" y="177791"/>
                  </a:moveTo>
                  <a:cubicBezTo>
                    <a:pt x="0" y="79600"/>
                    <a:pt x="79600" y="0"/>
                    <a:pt x="177791" y="0"/>
                  </a:cubicBezTo>
                  <a:lnTo>
                    <a:pt x="7946301" y="0"/>
                  </a:lnTo>
                  <a:cubicBezTo>
                    <a:pt x="8044492" y="0"/>
                    <a:pt x="8124092" y="79600"/>
                    <a:pt x="8124092" y="177791"/>
                  </a:cubicBezTo>
                  <a:lnTo>
                    <a:pt x="8124092" y="888936"/>
                  </a:lnTo>
                  <a:cubicBezTo>
                    <a:pt x="8124092" y="987127"/>
                    <a:pt x="8044492" y="1066727"/>
                    <a:pt x="7946301" y="1066727"/>
                  </a:cubicBezTo>
                  <a:lnTo>
                    <a:pt x="177791" y="1066727"/>
                  </a:lnTo>
                  <a:cubicBezTo>
                    <a:pt x="79600" y="1066727"/>
                    <a:pt x="0" y="987127"/>
                    <a:pt x="0" y="888936"/>
                  </a:cubicBezTo>
                  <a:lnTo>
                    <a:pt x="0" y="177791"/>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8273" tIns="128273" rIns="128273" bIns="12827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part from limit() method there is one more method </a:t>
              </a:r>
              <a:r>
                <a:rPr lang="en-US" sz="2000" b="1" kern="1200" dirty="0" smtClean="0">
                  <a:solidFill>
                    <a:srgbClr val="000000"/>
                  </a:solidFill>
                </a:rPr>
                <a:t>skip()</a:t>
              </a:r>
              <a:r>
                <a:rPr lang="en-US" sz="2000" kern="1200" dirty="0" smtClean="0">
                  <a:solidFill>
                    <a:srgbClr val="000000"/>
                  </a:solidFill>
                </a:rPr>
                <a:t> which also accepts number type argument and used to skip number of documents.</a:t>
              </a:r>
            </a:p>
          </p:txBody>
        </p:sp>
        <p:sp>
          <p:nvSpPr>
            <p:cNvPr id="10" name="Freeform 9"/>
            <p:cNvSpPr/>
            <p:nvPr/>
          </p:nvSpPr>
          <p:spPr>
            <a:xfrm>
              <a:off x="597877" y="5262715"/>
              <a:ext cx="8124092" cy="555589"/>
            </a:xfrm>
            <a:custGeom>
              <a:avLst/>
              <a:gdLst>
                <a:gd name="connsiteX0" fmla="*/ 0 w 8124092"/>
                <a:gd name="connsiteY0" fmla="*/ 0 h 555589"/>
                <a:gd name="connsiteX1" fmla="*/ 8124092 w 8124092"/>
                <a:gd name="connsiteY1" fmla="*/ 0 h 555589"/>
                <a:gd name="connsiteX2" fmla="*/ 8124092 w 8124092"/>
                <a:gd name="connsiteY2" fmla="*/ 555589 h 555589"/>
                <a:gd name="connsiteX3" fmla="*/ 0 w 8124092"/>
                <a:gd name="connsiteY3" fmla="*/ 555589 h 555589"/>
                <a:gd name="connsiteX4" fmla="*/ 0 w 8124092"/>
                <a:gd name="connsiteY4" fmla="*/ 0 h 555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4092" h="555589">
                  <a:moveTo>
                    <a:pt x="0" y="0"/>
                  </a:moveTo>
                  <a:lnTo>
                    <a:pt x="8124092" y="0"/>
                  </a:lnTo>
                  <a:lnTo>
                    <a:pt x="8124092" y="555589"/>
                  </a:lnTo>
                  <a:lnTo>
                    <a:pt x="0" y="5555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794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50,_id:0}).limit(1).skip(1)</a:t>
              </a:r>
            </a:p>
          </p:txBody>
        </p:sp>
        <p:sp>
          <p:nvSpPr>
            <p:cNvPr id="11" name="Freeform 10"/>
            <p:cNvSpPr/>
            <p:nvPr/>
          </p:nvSpPr>
          <p:spPr>
            <a:xfrm>
              <a:off x="597877" y="5818305"/>
              <a:ext cx="8124092" cy="681909"/>
            </a:xfrm>
            <a:custGeom>
              <a:avLst/>
              <a:gdLst>
                <a:gd name="connsiteX0" fmla="*/ 0 w 8124092"/>
                <a:gd name="connsiteY0" fmla="*/ 113654 h 681909"/>
                <a:gd name="connsiteX1" fmla="*/ 113654 w 8124092"/>
                <a:gd name="connsiteY1" fmla="*/ 0 h 681909"/>
                <a:gd name="connsiteX2" fmla="*/ 8010438 w 8124092"/>
                <a:gd name="connsiteY2" fmla="*/ 0 h 681909"/>
                <a:gd name="connsiteX3" fmla="*/ 8124092 w 8124092"/>
                <a:gd name="connsiteY3" fmla="*/ 113654 h 681909"/>
                <a:gd name="connsiteX4" fmla="*/ 8124092 w 8124092"/>
                <a:gd name="connsiteY4" fmla="*/ 568255 h 681909"/>
                <a:gd name="connsiteX5" fmla="*/ 8010438 w 8124092"/>
                <a:gd name="connsiteY5" fmla="*/ 681909 h 681909"/>
                <a:gd name="connsiteX6" fmla="*/ 113654 w 8124092"/>
                <a:gd name="connsiteY6" fmla="*/ 681909 h 681909"/>
                <a:gd name="connsiteX7" fmla="*/ 0 w 8124092"/>
                <a:gd name="connsiteY7" fmla="*/ 568255 h 681909"/>
                <a:gd name="connsiteX8" fmla="*/ 0 w 8124092"/>
                <a:gd name="connsiteY8" fmla="*/ 113654 h 68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681909">
                  <a:moveTo>
                    <a:pt x="0" y="113654"/>
                  </a:moveTo>
                  <a:cubicBezTo>
                    <a:pt x="0" y="50885"/>
                    <a:pt x="50885" y="0"/>
                    <a:pt x="113654" y="0"/>
                  </a:cubicBezTo>
                  <a:lnTo>
                    <a:pt x="8010438" y="0"/>
                  </a:lnTo>
                  <a:cubicBezTo>
                    <a:pt x="8073207" y="0"/>
                    <a:pt x="8124092" y="50885"/>
                    <a:pt x="8124092" y="113654"/>
                  </a:cubicBezTo>
                  <a:lnTo>
                    <a:pt x="8124092" y="568255"/>
                  </a:lnTo>
                  <a:cubicBezTo>
                    <a:pt x="8124092" y="631024"/>
                    <a:pt x="8073207" y="681909"/>
                    <a:pt x="8010438" y="681909"/>
                  </a:cubicBezTo>
                  <a:lnTo>
                    <a:pt x="113654" y="681909"/>
                  </a:lnTo>
                  <a:cubicBezTo>
                    <a:pt x="50885" y="681909"/>
                    <a:pt x="0" y="631024"/>
                    <a:pt x="0" y="568255"/>
                  </a:cubicBezTo>
                  <a:lnTo>
                    <a:pt x="0" y="113654"/>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9488" tIns="109488" rIns="109488" bIns="109488"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efault value in </a:t>
              </a:r>
              <a:r>
                <a:rPr lang="en-US" sz="2000" b="1" kern="1200" dirty="0" smtClean="0">
                  <a:solidFill>
                    <a:srgbClr val="000000"/>
                  </a:solidFill>
                </a:rPr>
                <a:t>skip()</a:t>
              </a:r>
              <a:r>
                <a:rPr lang="en-US" sz="2000" kern="1200" dirty="0" smtClean="0">
                  <a:solidFill>
                    <a:srgbClr val="000000"/>
                  </a:solidFill>
                </a:rPr>
                <a:t> method is 0</a:t>
              </a:r>
            </a:p>
          </p:txBody>
        </p:sp>
      </p:grpSp>
    </p:spTree>
    <p:extLst>
      <p:ext uri="{BB962C8B-B14F-4D97-AF65-F5344CB8AC3E}">
        <p14:creationId xmlns:p14="http://schemas.microsoft.com/office/powerpoint/2010/main" val="7654111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26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a:t>
            </a:r>
            <a:r>
              <a:rPr lang="en-US" sz="3200" dirty="0" smtClean="0">
                <a:solidFill>
                  <a:schemeClr val="tx2"/>
                </a:solidFill>
                <a:latin typeface="+mj-lt"/>
              </a:rPr>
              <a:t>Sort </a:t>
            </a:r>
            <a:r>
              <a:rPr lang="en-US" sz="3200" dirty="0">
                <a:solidFill>
                  <a:schemeClr val="tx2"/>
                </a:solidFill>
                <a:latin typeface="+mj-lt"/>
              </a:rPr>
              <a:t>Method</a:t>
            </a:r>
            <a:r>
              <a:rPr lang="en-US" sz="3200" dirty="0">
                <a:solidFill>
                  <a:srgbClr val="0094C3"/>
                </a:solidFill>
                <a:latin typeface="+mj-lt"/>
              </a:rPr>
              <a:t>()</a:t>
            </a:r>
          </a:p>
        </p:txBody>
      </p:sp>
      <p:graphicFrame>
        <p:nvGraphicFramePr>
          <p:cNvPr id="6" name="Diagram 5"/>
          <p:cNvGraphicFramePr/>
          <p:nvPr>
            <p:extLst>
              <p:ext uri="{D42A27DB-BD31-4B8C-83A1-F6EECF244321}">
                <p14:modId xmlns:p14="http://schemas.microsoft.com/office/powerpoint/2010/main" val="2618802776"/>
              </p:ext>
            </p:extLst>
          </p:nvPr>
        </p:nvGraphicFramePr>
        <p:xfrm>
          <a:off x="597877" y="1718547"/>
          <a:ext cx="801858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11313951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36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a:t>
            </a:r>
            <a:r>
              <a:rPr lang="en-US" sz="3200" dirty="0" smtClean="0">
                <a:solidFill>
                  <a:schemeClr val="tx2"/>
                </a:solidFill>
                <a:latin typeface="+mj-lt"/>
              </a:rPr>
              <a:t>Cursors</a:t>
            </a:r>
            <a:endParaRPr lang="en-US" sz="3200" dirty="0">
              <a:solidFill>
                <a:schemeClr val="tx2"/>
              </a:solidFill>
              <a:latin typeface="+mj-lt"/>
            </a:endParaRPr>
          </a:p>
        </p:txBody>
      </p:sp>
      <p:graphicFrame>
        <p:nvGraphicFramePr>
          <p:cNvPr id="6" name="Diagram 5"/>
          <p:cNvGraphicFramePr/>
          <p:nvPr/>
        </p:nvGraphicFramePr>
        <p:xfrm>
          <a:off x="562708" y="1441939"/>
          <a:ext cx="7965831" cy="43406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65899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78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t>Inserting and Saving </a:t>
            </a:r>
            <a:r>
              <a:rPr lang="en-US" sz="3200" dirty="0" smtClean="0"/>
              <a:t>Documents-</a:t>
            </a:r>
            <a:endParaRPr lang="en-US" sz="3200" dirty="0" smtClean="0">
              <a:solidFill>
                <a:srgbClr val="0094C3"/>
              </a:solidFill>
            </a:endParaRPr>
          </a:p>
          <a:p>
            <a:pPr defTabSz="844029">
              <a:spcBef>
                <a:spcPct val="0"/>
              </a:spcBef>
            </a:pPr>
            <a:r>
              <a:rPr lang="en-US" sz="3200" dirty="0" smtClean="0">
                <a:solidFill>
                  <a:srgbClr val="0094C3"/>
                </a:solidFill>
              </a:rPr>
              <a:t>CRUD </a:t>
            </a:r>
            <a:r>
              <a:rPr lang="en-US" sz="3200" dirty="0">
                <a:solidFill>
                  <a:srgbClr val="0094C3"/>
                </a:solidFill>
              </a:rPr>
              <a:t>Example</a:t>
            </a:r>
          </a:p>
        </p:txBody>
      </p:sp>
      <p:graphicFrame>
        <p:nvGraphicFramePr>
          <p:cNvPr id="8" name="Diagram 7"/>
          <p:cNvGraphicFramePr/>
          <p:nvPr>
            <p:extLst>
              <p:ext uri="{D42A27DB-BD31-4B8C-83A1-F6EECF244321}">
                <p14:modId xmlns:p14="http://schemas.microsoft.com/office/powerpoint/2010/main" val="3802359807"/>
              </p:ext>
            </p:extLst>
          </p:nvPr>
        </p:nvGraphicFramePr>
        <p:xfrm>
          <a:off x="669428" y="1355229"/>
          <a:ext cx="7742082" cy="433861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001100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46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Cursors </a:t>
            </a:r>
            <a:r>
              <a:rPr lang="en-US" sz="3200" dirty="0">
                <a:solidFill>
                  <a:srgbClr val="0094C3"/>
                </a:solidFill>
              </a:rPr>
              <a:t>(Contd.)</a:t>
            </a:r>
          </a:p>
        </p:txBody>
      </p:sp>
      <p:graphicFrame>
        <p:nvGraphicFramePr>
          <p:cNvPr id="7" name="Diagram 6"/>
          <p:cNvGraphicFramePr/>
          <p:nvPr>
            <p:extLst>
              <p:ext uri="{D42A27DB-BD31-4B8C-83A1-F6EECF244321}">
                <p14:modId xmlns:p14="http://schemas.microsoft.com/office/powerpoint/2010/main" val="3270385548"/>
              </p:ext>
            </p:extLst>
          </p:nvPr>
        </p:nvGraphicFramePr>
        <p:xfrm>
          <a:off x="562708" y="1441939"/>
          <a:ext cx="7965831" cy="43406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8443315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568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a:t>
            </a:r>
          </a:p>
        </p:txBody>
      </p:sp>
      <p:graphicFrame>
        <p:nvGraphicFramePr>
          <p:cNvPr id="6" name="Diagram 5"/>
          <p:cNvGraphicFramePr/>
          <p:nvPr/>
        </p:nvGraphicFramePr>
        <p:xfrm>
          <a:off x="615462" y="1718547"/>
          <a:ext cx="8001000" cy="362717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1256388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67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a:t>
            </a:r>
          </a:p>
        </p:txBody>
      </p:sp>
      <p:sp>
        <p:nvSpPr>
          <p:cNvPr id="7" name="Rounded Rectangle 6"/>
          <p:cNvSpPr/>
          <p:nvPr/>
        </p:nvSpPr>
        <p:spPr>
          <a:xfrm>
            <a:off x="422031" y="1600200"/>
            <a:ext cx="3763108"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spcBef>
                <a:spcPct val="20000"/>
              </a:spcBef>
              <a:spcAft>
                <a:spcPct val="0"/>
              </a:spcAft>
              <a:buClr>
                <a:srgbClr val="C8C500"/>
              </a:buClr>
              <a:buFont typeface="Symbol" pitchFamily="18" charset="2"/>
              <a:buChar char="-"/>
            </a:pPr>
            <a:endParaRPr lang="en-US" altLang="zh-CN" sz="1662" kern="0" dirty="0">
              <a:solidFill>
                <a:srgbClr val="000000"/>
              </a:solidFill>
            </a:endParaRPr>
          </a:p>
          <a:p>
            <a:r>
              <a:rPr lang="en-US" altLang="zh-CN" sz="1846" kern="0" dirty="0">
                <a:solidFill>
                  <a:srgbClr val="000000"/>
                </a:solidFill>
              </a:rPr>
              <a:t>&gt; </a:t>
            </a:r>
            <a:r>
              <a:rPr lang="en-US" dirty="0">
                <a:solidFill>
                  <a:schemeClr val="tx1"/>
                </a:solidFill>
              </a:rPr>
              <a:t>for(</a:t>
            </a:r>
            <a:r>
              <a:rPr lang="en-US" dirty="0">
                <a:solidFill>
                  <a:schemeClr val="tx1"/>
                </a:solidFill>
              </a:rPr>
              <a:t>i</a:t>
            </a:r>
            <a:r>
              <a:rPr lang="en-US" dirty="0">
                <a:solidFill>
                  <a:schemeClr val="tx1"/>
                </a:solidFill>
              </a:rPr>
              <a:t>=0; </a:t>
            </a:r>
            <a:r>
              <a:rPr lang="en-US" dirty="0">
                <a:solidFill>
                  <a:schemeClr val="tx1"/>
                </a:solidFill>
              </a:rPr>
              <a:t>i</a:t>
            </a:r>
            <a:r>
              <a:rPr lang="en-US" dirty="0">
                <a:solidFill>
                  <a:schemeClr val="tx1"/>
                </a:solidFill>
              </a:rPr>
              <a:t>&lt;11; </a:t>
            </a:r>
            <a:r>
              <a:rPr lang="en-US" dirty="0">
                <a:solidFill>
                  <a:schemeClr val="tx1"/>
                </a:solidFill>
              </a:rPr>
              <a:t>i</a:t>
            </a:r>
            <a:r>
              <a:rPr lang="en-US" dirty="0">
                <a:solidFill>
                  <a:schemeClr val="tx1"/>
                </a:solidFill>
              </a:rPr>
              <a:t>++){</a:t>
            </a:r>
            <a:r>
              <a:rPr lang="en-US" dirty="0">
                <a:solidFill>
                  <a:schemeClr val="tx1"/>
                </a:solidFill>
              </a:rPr>
              <a:t>db.employees.find</a:t>
            </a:r>
            <a:r>
              <a:rPr lang="en-US" dirty="0">
                <a:solidFill>
                  <a:schemeClr val="tx1"/>
                </a:solidFill>
              </a:rPr>
              <a:t>().pretty();}</a:t>
            </a:r>
          </a:p>
          <a:p>
            <a:r>
              <a:rPr lang="en-US" dirty="0">
                <a:solidFill>
                  <a:schemeClr val="tx1"/>
                </a:solidFill>
              </a:rPr>
              <a:t>&gt;</a:t>
            </a:r>
            <a:r>
              <a:rPr lang="en-US" dirty="0">
                <a:solidFill>
                  <a:schemeClr val="tx1"/>
                </a:solidFill>
              </a:rPr>
              <a:t>var</a:t>
            </a:r>
            <a:r>
              <a:rPr lang="en-US" dirty="0">
                <a:solidFill>
                  <a:schemeClr val="tx1"/>
                </a:solidFill>
              </a:rPr>
              <a:t> </a:t>
            </a:r>
            <a:r>
              <a:rPr lang="en-US" dirty="0">
                <a:solidFill>
                  <a:schemeClr val="tx1"/>
                </a:solidFill>
              </a:rPr>
              <a:t>myCursor</a:t>
            </a:r>
            <a:r>
              <a:rPr lang="en-US" dirty="0">
                <a:solidFill>
                  <a:schemeClr val="tx1"/>
                </a:solidFill>
              </a:rPr>
              <a:t> = </a:t>
            </a:r>
            <a:r>
              <a:rPr lang="en-US" dirty="0">
                <a:solidFill>
                  <a:schemeClr val="tx1"/>
                </a:solidFill>
              </a:rPr>
              <a:t>db.employees.find</a:t>
            </a:r>
            <a:r>
              <a:rPr lang="en-US" dirty="0">
                <a:solidFill>
                  <a:schemeClr val="tx1"/>
                </a:solidFill>
              </a:rPr>
              <a:t>();</a:t>
            </a:r>
          </a:p>
          <a:p>
            <a:r>
              <a:rPr lang="en-US" dirty="0">
                <a:solidFill>
                  <a:schemeClr val="tx1"/>
                </a:solidFill>
              </a:rPr>
              <a:t>	&gt;while (</a:t>
            </a:r>
            <a:r>
              <a:rPr lang="en-US" dirty="0">
                <a:solidFill>
                  <a:schemeClr val="tx1"/>
                </a:solidFill>
              </a:rPr>
              <a:t>myCursor</a:t>
            </a:r>
            <a:r>
              <a:rPr lang="en-US" dirty="0">
                <a:solidFill>
                  <a:schemeClr val="tx1"/>
                </a:solidFill>
              </a:rPr>
              <a:t> .</a:t>
            </a:r>
            <a:r>
              <a:rPr lang="en-US" dirty="0">
                <a:solidFill>
                  <a:schemeClr val="tx1"/>
                </a:solidFill>
              </a:rPr>
              <a:t>hasNext</a:t>
            </a:r>
            <a:r>
              <a:rPr lang="en-US" dirty="0">
                <a:solidFill>
                  <a:schemeClr val="tx1"/>
                </a:solidFill>
              </a:rPr>
              <a:t>()) </a:t>
            </a:r>
          </a:p>
          <a:p>
            <a:r>
              <a:rPr lang="en-US" dirty="0">
                <a:solidFill>
                  <a:schemeClr val="tx1"/>
                </a:solidFill>
              </a:rPr>
              <a:t>	{</a:t>
            </a:r>
          </a:p>
          <a:p>
            <a:r>
              <a:rPr lang="en-US" dirty="0" smtClean="0">
                <a:solidFill>
                  <a:schemeClr val="tx1"/>
                </a:solidFill>
              </a:rPr>
              <a:t> </a:t>
            </a:r>
            <a:r>
              <a:rPr lang="en-US" dirty="0">
                <a:solidFill>
                  <a:schemeClr val="tx1"/>
                </a:solidFill>
              </a:rPr>
              <a:t>obj</a:t>
            </a:r>
            <a:r>
              <a:rPr lang="en-US" dirty="0">
                <a:solidFill>
                  <a:schemeClr val="tx1"/>
                </a:solidFill>
              </a:rPr>
              <a:t> = </a:t>
            </a:r>
            <a:r>
              <a:rPr lang="en-US" dirty="0">
                <a:solidFill>
                  <a:schemeClr val="tx1"/>
                </a:solidFill>
              </a:rPr>
              <a:t>myCursor.next</a:t>
            </a:r>
            <a:r>
              <a:rPr lang="en-US" dirty="0" smtClean="0">
                <a:solidFill>
                  <a:schemeClr val="tx1"/>
                </a:solidFill>
              </a:rPr>
              <a:t>();</a:t>
            </a:r>
          </a:p>
          <a:p>
            <a:r>
              <a:rPr lang="en-US" dirty="0" smtClean="0">
                <a:solidFill>
                  <a:schemeClr val="tx1"/>
                </a:solidFill>
              </a:rPr>
              <a:t>//</a:t>
            </a:r>
            <a:r>
              <a:rPr lang="en-US" dirty="0" smtClean="0">
                <a:solidFill>
                  <a:schemeClr val="tx1"/>
                </a:solidFill>
              </a:rPr>
              <a:t>doStuff</a:t>
            </a:r>
            <a:r>
              <a:rPr lang="en-US" dirty="0">
                <a:solidFill>
                  <a:schemeClr val="tx1"/>
                </a:solidFill>
              </a:rPr>
              <a:t>	</a:t>
            </a:r>
          </a:p>
          <a:p>
            <a:r>
              <a:rPr lang="en-US" dirty="0">
                <a:solidFill>
                  <a:schemeClr val="tx1"/>
                </a:solidFill>
              </a:rPr>
              <a:t>	}</a:t>
            </a:r>
          </a:p>
          <a:p>
            <a:pPr algn="ctr"/>
            <a:endParaRPr lang="en-US" sz="2215" dirty="0">
              <a:solidFill>
                <a:schemeClr val="tx2">
                  <a:lumMod val="50000"/>
                </a:schemeClr>
              </a:solidFill>
            </a:endParaRPr>
          </a:p>
        </p:txBody>
      </p:sp>
      <p:sp>
        <p:nvSpPr>
          <p:cNvPr id="8" name="Rounded Rectangle 7"/>
          <p:cNvSpPr/>
          <p:nvPr/>
        </p:nvSpPr>
        <p:spPr>
          <a:xfrm>
            <a:off x="4659923" y="1582615"/>
            <a:ext cx="3798277"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lnSpc>
                <a:spcPct val="85000"/>
              </a:lnSpc>
              <a:spcBef>
                <a:spcPct val="20000"/>
              </a:spcBef>
              <a:spcAft>
                <a:spcPct val="0"/>
              </a:spcAft>
              <a:buClr>
                <a:srgbClr val="C8C500"/>
              </a:buClr>
            </a:pPr>
            <a:endParaRPr lang="en-US" altLang="zh-CN" sz="1846" kern="0" dirty="0">
              <a:solidFill>
                <a:srgbClr val="000000"/>
              </a:solidFill>
            </a:endParaRPr>
          </a:p>
          <a:p>
            <a:pPr marL="923215" lvl="2" indent="-303343" defTabSz="844083" fontAlgn="base">
              <a:lnSpc>
                <a:spcPct val="85000"/>
              </a:lnSpc>
              <a:spcBef>
                <a:spcPct val="20000"/>
              </a:spcBef>
              <a:spcAft>
                <a:spcPct val="0"/>
              </a:spcAft>
              <a:buClr>
                <a:srgbClr val="C8C500"/>
              </a:buClr>
            </a:pPr>
            <a:r>
              <a:rPr lang="en-US" altLang="zh-CN" sz="1846" kern="0" dirty="0" smtClean="0">
                <a:solidFill>
                  <a:srgbClr val="000000"/>
                </a:solidFill>
              </a:rPr>
              <a:t>&gt;</a:t>
            </a:r>
            <a:r>
              <a:rPr lang="en-US" altLang="zh-CN" sz="1846" kern="0" dirty="0" smtClean="0">
                <a:solidFill>
                  <a:srgbClr val="000000"/>
                </a:solidFill>
              </a:rPr>
              <a:t>var</a:t>
            </a:r>
            <a:r>
              <a:rPr lang="en-US" altLang="zh-CN" sz="1846" kern="0" dirty="0" smtClean="0">
                <a:solidFill>
                  <a:srgbClr val="000000"/>
                </a:solidFill>
              </a:rPr>
              <a:t> </a:t>
            </a:r>
            <a:r>
              <a:rPr lang="en-US" altLang="zh-CN" sz="1846" kern="0" dirty="0">
                <a:solidFill>
                  <a:srgbClr val="000000"/>
                </a:solidFill>
              </a:rPr>
              <a:t>myCurData</a:t>
            </a:r>
            <a:r>
              <a:rPr lang="en-US" altLang="zh-CN" sz="1846" kern="0" dirty="0">
                <a:solidFill>
                  <a:srgbClr val="000000"/>
                </a:solidFill>
              </a:rPr>
              <a:t> = </a:t>
            </a:r>
            <a:r>
              <a:rPr lang="en-US" altLang="zh-CN" sz="1846" kern="0" dirty="0">
                <a:solidFill>
                  <a:srgbClr val="000000"/>
                </a:solidFill>
              </a:rPr>
              <a:t>db.employees.find</a:t>
            </a:r>
            <a:r>
              <a:rPr lang="en-US" altLang="zh-CN" sz="1846" kern="0" dirty="0">
                <a:solidFill>
                  <a:srgbClr val="000000"/>
                </a:solidFill>
              </a:rPr>
              <a:t>();</a:t>
            </a:r>
          </a:p>
          <a:p>
            <a:pPr marL="923215" lvl="2" indent="-303343" defTabSz="844083" fontAlgn="base">
              <a:lnSpc>
                <a:spcPct val="85000"/>
              </a:lnSpc>
              <a:spcBef>
                <a:spcPct val="20000"/>
              </a:spcBef>
              <a:spcAft>
                <a:spcPct val="0"/>
              </a:spcAft>
              <a:buClr>
                <a:srgbClr val="C8C500"/>
              </a:buClr>
            </a:pPr>
            <a:r>
              <a:rPr lang="en-US" altLang="zh-CN" sz="1846" kern="0" dirty="0" smtClean="0">
                <a:solidFill>
                  <a:srgbClr val="000000"/>
                </a:solidFill>
              </a:rPr>
              <a:t>&gt;</a:t>
            </a:r>
            <a:r>
              <a:rPr lang="en-US" altLang="zh-CN" sz="1846" kern="0" dirty="0" smtClean="0">
                <a:solidFill>
                  <a:srgbClr val="000000"/>
                </a:solidFill>
              </a:rPr>
              <a:t>myCurData.forEach</a:t>
            </a:r>
            <a:r>
              <a:rPr lang="en-US" altLang="zh-CN" sz="1846" kern="0" dirty="0">
                <a:solidFill>
                  <a:srgbClr val="000000"/>
                </a:solidFill>
              </a:rPr>
              <a:t>( function(</a:t>
            </a:r>
            <a:r>
              <a:rPr lang="en-US" altLang="zh-CN" sz="1846" kern="0" dirty="0">
                <a:solidFill>
                  <a:srgbClr val="000000"/>
                </a:solidFill>
              </a:rPr>
              <a:t>myDoc</a:t>
            </a:r>
            <a:r>
              <a:rPr lang="en-US" altLang="zh-CN" sz="1846" kern="0" dirty="0">
                <a:solidFill>
                  <a:srgbClr val="000000"/>
                </a:solidFill>
              </a:rPr>
              <a:t>) { print( "</a:t>
            </a:r>
            <a:r>
              <a:rPr lang="en-US" altLang="zh-CN" sz="1846" kern="0" dirty="0">
                <a:solidFill>
                  <a:srgbClr val="000000"/>
                </a:solidFill>
              </a:rPr>
              <a:t>firstname</a:t>
            </a:r>
            <a:r>
              <a:rPr lang="en-US" altLang="zh-CN" sz="1846" kern="0" dirty="0">
                <a:solidFill>
                  <a:srgbClr val="000000"/>
                </a:solidFill>
              </a:rPr>
              <a:t>: " + </a:t>
            </a:r>
            <a:r>
              <a:rPr lang="en-US" altLang="zh-CN" sz="1846" kern="0" dirty="0">
                <a:solidFill>
                  <a:srgbClr val="000000"/>
                </a:solidFill>
              </a:rPr>
              <a:t>myDoc.firstname</a:t>
            </a:r>
            <a:r>
              <a:rPr lang="en-US" altLang="zh-CN" sz="1846" kern="0" dirty="0">
                <a:solidFill>
                  <a:srgbClr val="000000"/>
                </a:solidFill>
              </a:rPr>
              <a:t> ); } );</a:t>
            </a:r>
            <a:endParaRPr lang="en-US" sz="2215" dirty="0">
              <a:solidFill>
                <a:schemeClr val="tx2">
                  <a:lumMod val="50000"/>
                </a:schemeClr>
              </a:solidFill>
            </a:endParaRPr>
          </a:p>
        </p:txBody>
      </p:sp>
    </p:spTree>
    <p:extLst>
      <p:ext uri="{BB962C8B-B14F-4D97-AF65-F5344CB8AC3E}">
        <p14:creationId xmlns:p14="http://schemas.microsoft.com/office/powerpoint/2010/main" val="424605282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77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 </a:t>
            </a:r>
          </a:p>
        </p:txBody>
      </p:sp>
      <p:graphicFrame>
        <p:nvGraphicFramePr>
          <p:cNvPr id="6" name="Diagram 5"/>
          <p:cNvGraphicFramePr/>
          <p:nvPr>
            <p:extLst>
              <p:ext uri="{D42A27DB-BD31-4B8C-83A1-F6EECF244321}">
                <p14:modId xmlns:p14="http://schemas.microsoft.com/office/powerpoint/2010/main" val="3314246986"/>
              </p:ext>
            </p:extLst>
          </p:nvPr>
        </p:nvGraphicFramePr>
        <p:xfrm>
          <a:off x="703384" y="1494693"/>
          <a:ext cx="7930662" cy="42878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09038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87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a:t>
            </a:r>
          </a:p>
        </p:txBody>
      </p:sp>
      <p:sp>
        <p:nvSpPr>
          <p:cNvPr id="6" name="Rounded Rectangle 5"/>
          <p:cNvSpPr/>
          <p:nvPr/>
        </p:nvSpPr>
        <p:spPr>
          <a:xfrm>
            <a:off x="422031" y="1600200"/>
            <a:ext cx="3763108"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spcBef>
                <a:spcPct val="20000"/>
              </a:spcBef>
              <a:spcAft>
                <a:spcPct val="0"/>
              </a:spcAft>
              <a:buClr>
                <a:srgbClr val="C8C500"/>
              </a:buClr>
              <a:buFont typeface="Symbol" pitchFamily="18" charset="2"/>
              <a:buChar char="-"/>
            </a:pPr>
            <a:endParaRPr lang="en-US" altLang="zh-CN" sz="1662" kern="0" dirty="0">
              <a:solidFill>
                <a:srgbClr val="000000"/>
              </a:solidFill>
            </a:endParaRPr>
          </a:p>
          <a:p>
            <a:pPr marL="923215" lvl="2" indent="-303343" defTabSz="844083" fontAlgn="base">
              <a:spcBef>
                <a:spcPct val="20000"/>
              </a:spcBef>
              <a:spcAft>
                <a:spcPct val="0"/>
              </a:spcAft>
              <a:buClr>
                <a:srgbClr val="C8C500"/>
              </a:buClr>
            </a:pPr>
            <a:r>
              <a:rPr lang="en-US" altLang="zh-CN" sz="1846" kern="0" dirty="0">
                <a:solidFill>
                  <a:srgbClr val="000000"/>
                </a:solidFill>
              </a:rPr>
              <a:t>cursor = </a:t>
            </a:r>
            <a:r>
              <a:rPr lang="en-US" altLang="zh-CN" sz="1846" kern="0" dirty="0">
                <a:solidFill>
                  <a:srgbClr val="000000"/>
                </a:solidFill>
              </a:rPr>
              <a:t>db.foo.find</a:t>
            </a:r>
            <a:r>
              <a:rPr lang="en-US" altLang="zh-CN" sz="1846" kern="0" dirty="0">
                <a:solidFill>
                  <a:srgbClr val="000000"/>
                </a:solidFill>
              </a:rPr>
              <a:t>();</a:t>
            </a:r>
          </a:p>
          <a:p>
            <a:pPr marL="923215" lvl="2" indent="-303343" defTabSz="844083" fontAlgn="base">
              <a:spcBef>
                <a:spcPct val="20000"/>
              </a:spcBef>
              <a:spcAft>
                <a:spcPct val="0"/>
              </a:spcAft>
              <a:buClr>
                <a:srgbClr val="C8C500"/>
              </a:buClr>
            </a:pPr>
            <a:r>
              <a:rPr lang="en-US" altLang="zh-CN" sz="1846" kern="0" dirty="0">
                <a:solidFill>
                  <a:srgbClr val="000000"/>
                </a:solidFill>
              </a:rPr>
              <a:t>while (</a:t>
            </a:r>
            <a:r>
              <a:rPr lang="en-US" altLang="zh-CN" sz="1846" kern="0" dirty="0">
                <a:solidFill>
                  <a:srgbClr val="000000"/>
                </a:solidFill>
              </a:rPr>
              <a:t>cursor.hasNext</a:t>
            </a:r>
            <a:r>
              <a:rPr lang="en-US" altLang="zh-CN" sz="1846" kern="0" dirty="0">
                <a:solidFill>
                  <a:srgbClr val="000000"/>
                </a:solidFill>
              </a:rPr>
              <a:t>()) {</a:t>
            </a:r>
          </a:p>
          <a:p>
            <a:pPr marL="923215" lvl="2" indent="-303343" defTabSz="844083" fontAlgn="base">
              <a:spcBef>
                <a:spcPct val="20000"/>
              </a:spcBef>
              <a:spcAft>
                <a:spcPct val="0"/>
              </a:spcAft>
              <a:buClr>
                <a:srgbClr val="C8C500"/>
              </a:buClr>
            </a:pPr>
            <a:r>
              <a:rPr lang="en-US" altLang="zh-CN" sz="1846" kern="0" dirty="0">
                <a:solidFill>
                  <a:srgbClr val="000000"/>
                </a:solidFill>
              </a:rPr>
              <a:t>  </a:t>
            </a:r>
            <a:r>
              <a:rPr lang="en-US" altLang="zh-CN" sz="1846" kern="0" dirty="0">
                <a:solidFill>
                  <a:srgbClr val="000000"/>
                </a:solidFill>
              </a:rPr>
              <a:t>var</a:t>
            </a:r>
            <a:r>
              <a:rPr lang="en-US" altLang="zh-CN" sz="1846" kern="0" dirty="0">
                <a:solidFill>
                  <a:srgbClr val="000000"/>
                </a:solidFill>
              </a:rPr>
              <a:t> doc = </a:t>
            </a:r>
            <a:r>
              <a:rPr lang="en-US" altLang="zh-CN" sz="1846" kern="0" dirty="0">
                <a:solidFill>
                  <a:srgbClr val="000000"/>
                </a:solidFill>
              </a:rPr>
              <a:t>cursor.next</a:t>
            </a:r>
            <a:r>
              <a:rPr lang="en-US" altLang="zh-CN" sz="1846" kern="0" dirty="0">
                <a:solidFill>
                  <a:srgbClr val="000000"/>
                </a:solidFill>
              </a:rPr>
              <a:t>();</a:t>
            </a:r>
          </a:p>
          <a:p>
            <a:pPr marL="923215" lvl="2" indent="-303343" defTabSz="844083" fontAlgn="base">
              <a:spcBef>
                <a:spcPct val="20000"/>
              </a:spcBef>
              <a:spcAft>
                <a:spcPct val="0"/>
              </a:spcAft>
              <a:buClr>
                <a:srgbClr val="C8C500"/>
              </a:buClr>
            </a:pPr>
            <a:r>
              <a:rPr lang="en-US" altLang="zh-CN" sz="1846" kern="0" dirty="0">
                <a:solidFill>
                  <a:srgbClr val="000000"/>
                </a:solidFill>
              </a:rPr>
              <a:t>  doc = process(doc);</a:t>
            </a:r>
          </a:p>
          <a:p>
            <a:pPr marL="923215" lvl="2" indent="-303343" defTabSz="844083" fontAlgn="base">
              <a:spcBef>
                <a:spcPct val="20000"/>
              </a:spcBef>
              <a:spcAft>
                <a:spcPct val="0"/>
              </a:spcAft>
              <a:buClr>
                <a:srgbClr val="C8C500"/>
              </a:buClr>
            </a:pPr>
            <a:r>
              <a:rPr lang="en-US" altLang="zh-CN" sz="1846" kern="0" dirty="0">
                <a:solidFill>
                  <a:srgbClr val="000000"/>
                </a:solidFill>
              </a:rPr>
              <a:t>  </a:t>
            </a:r>
            <a:r>
              <a:rPr lang="en-US" altLang="zh-CN" sz="1846" kern="0" dirty="0">
                <a:solidFill>
                  <a:srgbClr val="000000"/>
                </a:solidFill>
              </a:rPr>
              <a:t>db.foo.save</a:t>
            </a:r>
            <a:r>
              <a:rPr lang="en-US" altLang="zh-CN" sz="1846" kern="0" dirty="0">
                <a:solidFill>
                  <a:srgbClr val="000000"/>
                </a:solidFill>
              </a:rPr>
              <a:t>(doc);</a:t>
            </a:r>
          </a:p>
          <a:p>
            <a:pPr marL="923215" lvl="2" indent="-303343" defTabSz="844083" fontAlgn="base">
              <a:spcBef>
                <a:spcPct val="20000"/>
              </a:spcBef>
              <a:spcAft>
                <a:spcPct val="0"/>
              </a:spcAft>
              <a:buClr>
                <a:srgbClr val="C8C500"/>
              </a:buClr>
            </a:pPr>
            <a:r>
              <a:rPr lang="en-US" altLang="zh-CN" sz="1846" kern="0" dirty="0">
                <a:solidFill>
                  <a:srgbClr val="000000"/>
                </a:solidFill>
              </a:rPr>
              <a:t>}</a:t>
            </a:r>
          </a:p>
          <a:p>
            <a:pPr algn="ctr"/>
            <a:endParaRPr lang="en-US" sz="2215" dirty="0">
              <a:solidFill>
                <a:schemeClr val="tx2">
                  <a:lumMod val="50000"/>
                </a:schemeClr>
              </a:solidFill>
            </a:endParaRPr>
          </a:p>
        </p:txBody>
      </p:sp>
      <p:grpSp>
        <p:nvGrpSpPr>
          <p:cNvPr id="7" name="Group 7"/>
          <p:cNvGrpSpPr>
            <a:grpSpLocks/>
          </p:cNvGrpSpPr>
          <p:nvPr/>
        </p:nvGrpSpPr>
        <p:grpSpPr bwMode="auto">
          <a:xfrm>
            <a:off x="5375031" y="1519569"/>
            <a:ext cx="2889738" cy="2014938"/>
            <a:chOff x="3021" y="1654"/>
            <a:chExt cx="2565" cy="2083"/>
          </a:xfrm>
        </p:grpSpPr>
        <p:pic>
          <p:nvPicPr>
            <p:cNvPr id="8" name="Picture 5"/>
            <p:cNvPicPr>
              <a:picLocks noChangeAspect="1" noChangeArrowheads="1"/>
            </p:cNvPicPr>
            <p:nvPr/>
          </p:nvPicPr>
          <p:blipFill>
            <a:blip r:embed="rId7" cstate="print"/>
            <a:srcRect/>
            <a:stretch>
              <a:fillRect/>
            </a:stretch>
          </p:blipFill>
          <p:spPr bwMode="auto">
            <a:xfrm>
              <a:off x="3021" y="1654"/>
              <a:ext cx="2565" cy="754"/>
            </a:xfrm>
            <a:prstGeom prst="rect">
              <a:avLst/>
            </a:prstGeom>
            <a:noFill/>
            <a:ln w="38100">
              <a:noFill/>
              <a:miter lim="800000"/>
              <a:headEnd/>
              <a:tailEnd/>
            </a:ln>
          </p:spPr>
        </p:pic>
        <p:pic>
          <p:nvPicPr>
            <p:cNvPr id="9" name="Picture 6"/>
            <p:cNvPicPr>
              <a:picLocks noChangeAspect="1" noChangeArrowheads="1"/>
            </p:cNvPicPr>
            <p:nvPr/>
          </p:nvPicPr>
          <p:blipFill>
            <a:blip r:embed="rId8" cstate="print"/>
            <a:srcRect/>
            <a:stretch>
              <a:fillRect/>
            </a:stretch>
          </p:blipFill>
          <p:spPr bwMode="auto">
            <a:xfrm>
              <a:off x="3021" y="2408"/>
              <a:ext cx="2565" cy="1329"/>
            </a:xfrm>
            <a:prstGeom prst="rect">
              <a:avLst/>
            </a:prstGeom>
            <a:noFill/>
            <a:ln w="38100">
              <a:noFill/>
              <a:miter lim="800000"/>
              <a:headEnd/>
              <a:tailEnd/>
            </a:ln>
          </p:spPr>
        </p:pic>
      </p:grpSp>
      <p:grpSp>
        <p:nvGrpSpPr>
          <p:cNvPr id="10" name="Group 10"/>
          <p:cNvGrpSpPr>
            <a:grpSpLocks/>
          </p:cNvGrpSpPr>
          <p:nvPr/>
        </p:nvGrpSpPr>
        <p:grpSpPr bwMode="auto">
          <a:xfrm>
            <a:off x="5481272" y="3843839"/>
            <a:ext cx="2765913" cy="1923915"/>
            <a:chOff x="2401" y="1534"/>
            <a:chExt cx="3359" cy="2166"/>
          </a:xfrm>
        </p:grpSpPr>
        <p:pic>
          <p:nvPicPr>
            <p:cNvPr id="11" name="Picture 8"/>
            <p:cNvPicPr>
              <a:picLocks noChangeAspect="1" noChangeArrowheads="1"/>
            </p:cNvPicPr>
            <p:nvPr/>
          </p:nvPicPr>
          <p:blipFill>
            <a:blip r:embed="rId9" cstate="print"/>
            <a:srcRect/>
            <a:stretch>
              <a:fillRect/>
            </a:stretch>
          </p:blipFill>
          <p:spPr bwMode="auto">
            <a:xfrm>
              <a:off x="2401" y="1534"/>
              <a:ext cx="3359" cy="744"/>
            </a:xfrm>
            <a:prstGeom prst="rect">
              <a:avLst/>
            </a:prstGeom>
            <a:noFill/>
            <a:ln w="38100">
              <a:noFill/>
              <a:miter lim="800000"/>
              <a:headEnd/>
              <a:tailEnd/>
            </a:ln>
          </p:spPr>
        </p:pic>
        <p:pic>
          <p:nvPicPr>
            <p:cNvPr id="12" name="Picture 9"/>
            <p:cNvPicPr>
              <a:picLocks noChangeAspect="1" noChangeArrowheads="1"/>
            </p:cNvPicPr>
            <p:nvPr/>
          </p:nvPicPr>
          <p:blipFill>
            <a:blip r:embed="rId10" cstate="print"/>
            <a:srcRect/>
            <a:stretch>
              <a:fillRect/>
            </a:stretch>
          </p:blipFill>
          <p:spPr bwMode="auto">
            <a:xfrm>
              <a:off x="2401" y="2673"/>
              <a:ext cx="3359" cy="1027"/>
            </a:xfrm>
            <a:prstGeom prst="rect">
              <a:avLst/>
            </a:prstGeom>
            <a:noFill/>
            <a:ln w="38100">
              <a:noFill/>
              <a:miter lim="800000"/>
              <a:headEnd/>
              <a:tailEnd/>
            </a:ln>
          </p:spPr>
        </p:pic>
      </p:grpSp>
    </p:spTree>
    <p:extLst>
      <p:ext uri="{BB962C8B-B14F-4D97-AF65-F5344CB8AC3E}">
        <p14:creationId xmlns:p14="http://schemas.microsoft.com/office/powerpoint/2010/main" val="1044255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nodeType="clickEffect">
                                  <p:stCondLst>
                                    <p:cond delay="0"/>
                                  </p:stCondLst>
                                  <p:childTnLst>
                                    <p:animEffect transition="out" filter="blinds(horizontal)">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linds(horizontal)">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97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323" dirty="0">
                <a:solidFill>
                  <a:srgbClr val="0094C3"/>
                </a:solidFill>
                <a:latin typeface="Arial Narrow" pitchFamily="34" charset="0"/>
              </a:rPr>
              <a:t>Summary</a:t>
            </a:r>
          </a:p>
        </p:txBody>
      </p:sp>
      <p:graphicFrame>
        <p:nvGraphicFramePr>
          <p:cNvPr id="20" name="Diagram 19"/>
          <p:cNvGraphicFramePr/>
          <p:nvPr/>
        </p:nvGraphicFramePr>
        <p:xfrm>
          <a:off x="1471246" y="1449754"/>
          <a:ext cx="609600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657967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88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044526"/>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Inserting and Saving Documents</a:t>
            </a:r>
          </a:p>
          <a:p>
            <a:pPr defTabSz="844029">
              <a:spcBef>
                <a:spcPct val="0"/>
              </a:spcBef>
            </a:pPr>
            <a:r>
              <a:rPr lang="en-US" sz="3200" dirty="0" smtClean="0">
                <a:solidFill>
                  <a:schemeClr val="tx2"/>
                </a:solidFill>
              </a:rPr>
              <a:t>Insert </a:t>
            </a:r>
            <a:r>
              <a:rPr lang="en-US" sz="3200" dirty="0">
                <a:solidFill>
                  <a:schemeClr val="tx2"/>
                </a:solidFill>
              </a:rPr>
              <a:t>Document – insert() method</a:t>
            </a:r>
          </a:p>
        </p:txBody>
      </p:sp>
      <p:graphicFrame>
        <p:nvGraphicFramePr>
          <p:cNvPr id="7" name="Diagram 6"/>
          <p:cNvGraphicFramePr/>
          <p:nvPr>
            <p:extLst>
              <p:ext uri="{D42A27DB-BD31-4B8C-83A1-F6EECF244321}">
                <p14:modId xmlns:p14="http://schemas.microsoft.com/office/powerpoint/2010/main" val="1181201511"/>
              </p:ext>
            </p:extLst>
          </p:nvPr>
        </p:nvGraphicFramePr>
        <p:xfrm>
          <a:off x="1480342" y="1527974"/>
          <a:ext cx="6989379"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696863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38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199271"/>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Removing </a:t>
            </a:r>
            <a:r>
              <a:rPr lang="en-US" sz="3200" dirty="0" smtClean="0">
                <a:solidFill>
                  <a:schemeClr val="tx2"/>
                </a:solidFill>
              </a:rPr>
              <a:t>Documents-</a:t>
            </a:r>
            <a:endParaRPr lang="en-US" sz="3200" dirty="0">
              <a:solidFill>
                <a:schemeClr val="tx2"/>
              </a:solidFill>
            </a:endParaRPr>
          </a:p>
          <a:p>
            <a:pPr defTabSz="844029">
              <a:spcBef>
                <a:spcPct val="0"/>
              </a:spcBef>
            </a:pPr>
            <a:r>
              <a:rPr lang="en-US" sz="3200" dirty="0" smtClean="0">
                <a:solidFill>
                  <a:srgbClr val="0094C3"/>
                </a:solidFill>
              </a:rPr>
              <a:t>Remove </a:t>
            </a:r>
            <a:r>
              <a:rPr lang="en-US" sz="3200" dirty="0">
                <a:solidFill>
                  <a:srgbClr val="0094C3"/>
                </a:solidFill>
              </a:rPr>
              <a:t>document – remove() method</a:t>
            </a:r>
          </a:p>
        </p:txBody>
      </p:sp>
      <p:graphicFrame>
        <p:nvGraphicFramePr>
          <p:cNvPr id="6" name="Diagram 5"/>
          <p:cNvGraphicFramePr/>
          <p:nvPr>
            <p:extLst>
              <p:ext uri="{D42A27DB-BD31-4B8C-83A1-F6EECF244321}">
                <p14:modId xmlns:p14="http://schemas.microsoft.com/office/powerpoint/2010/main" val="2651189678"/>
              </p:ext>
            </p:extLst>
          </p:nvPr>
        </p:nvGraphicFramePr>
        <p:xfrm>
          <a:off x="388882" y="1731714"/>
          <a:ext cx="8546528"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365469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48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rPr>
              <a:t>Remove document – remove only one </a:t>
            </a:r>
          </a:p>
        </p:txBody>
      </p:sp>
      <p:graphicFrame>
        <p:nvGraphicFramePr>
          <p:cNvPr id="8" name="Diagram 7"/>
          <p:cNvGraphicFramePr/>
          <p:nvPr>
            <p:extLst>
              <p:ext uri="{D42A27DB-BD31-4B8C-83A1-F6EECF244321}">
                <p14:modId xmlns:p14="http://schemas.microsoft.com/office/powerpoint/2010/main" val="1605312777"/>
              </p:ext>
            </p:extLst>
          </p:nvPr>
        </p:nvGraphicFramePr>
        <p:xfrm>
          <a:off x="562708" y="1718547"/>
          <a:ext cx="7784123" cy="442761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51196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590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pdating </a:t>
            </a:r>
            <a:r>
              <a:rPr lang="en-US" sz="3200" dirty="0" smtClean="0">
                <a:solidFill>
                  <a:schemeClr val="tx2"/>
                </a:solidFill>
              </a:rPr>
              <a:t>Documents-</a:t>
            </a:r>
            <a:endParaRPr lang="en-US" sz="3200" dirty="0">
              <a:solidFill>
                <a:schemeClr val="tx2"/>
              </a:solidFill>
            </a:endParaRPr>
          </a:p>
          <a:p>
            <a:pPr defTabSz="844029">
              <a:spcBef>
                <a:spcPct val="0"/>
              </a:spcBef>
            </a:pPr>
            <a:r>
              <a:rPr lang="en-US" sz="3200" dirty="0" smtClean="0">
                <a:solidFill>
                  <a:schemeClr val="tx2"/>
                </a:solidFill>
              </a:rPr>
              <a:t>Update </a:t>
            </a:r>
            <a:r>
              <a:rPr lang="en-US" sz="3200" dirty="0">
                <a:solidFill>
                  <a:schemeClr val="tx2"/>
                </a:solidFill>
              </a:rPr>
              <a:t>document – update() method</a:t>
            </a:r>
          </a:p>
        </p:txBody>
      </p:sp>
      <p:graphicFrame>
        <p:nvGraphicFramePr>
          <p:cNvPr id="6" name="Diagram 5"/>
          <p:cNvGraphicFramePr/>
          <p:nvPr>
            <p:extLst>
              <p:ext uri="{D42A27DB-BD31-4B8C-83A1-F6EECF244321}">
                <p14:modId xmlns:p14="http://schemas.microsoft.com/office/powerpoint/2010/main" val="1259866516"/>
              </p:ext>
            </p:extLst>
          </p:nvPr>
        </p:nvGraphicFramePr>
        <p:xfrm>
          <a:off x="1116521" y="1542528"/>
          <a:ext cx="7134907" cy="53154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467100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08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523309"/>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pdating </a:t>
            </a:r>
            <a:r>
              <a:rPr lang="en-US" sz="2400" dirty="0" smtClean="0">
                <a:solidFill>
                  <a:schemeClr val="tx2"/>
                </a:solidFill>
              </a:rPr>
              <a:t>Documents-Update </a:t>
            </a:r>
            <a:r>
              <a:rPr lang="en-US" sz="2400" dirty="0">
                <a:solidFill>
                  <a:schemeClr val="tx2"/>
                </a:solidFill>
              </a:rPr>
              <a:t>with Options</a:t>
            </a:r>
          </a:p>
        </p:txBody>
      </p:sp>
      <p:graphicFrame>
        <p:nvGraphicFramePr>
          <p:cNvPr id="6" name="Diagram 5"/>
          <p:cNvGraphicFramePr/>
          <p:nvPr>
            <p:extLst>
              <p:ext uri="{D42A27DB-BD31-4B8C-83A1-F6EECF244321}">
                <p14:modId xmlns:p14="http://schemas.microsoft.com/office/powerpoint/2010/main" val="1315228455"/>
              </p:ext>
            </p:extLst>
          </p:nvPr>
        </p:nvGraphicFramePr>
        <p:xfrm>
          <a:off x="640323" y="972273"/>
          <a:ext cx="8164112" cy="58857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925617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4.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5.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8.xml><?xml version="1.0" encoding="utf-8"?>
<a:theme xmlns:a="http://schemas.openxmlformats.org/drawingml/2006/main" name="3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Level xmlns="26bed2a0-a239-4228-bd8e-b46f54fc12da">L1</Level>
    <Category xmlns="26bed2a0-a239-4228-bd8e-b46f54fc12da">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B68844-B4E2-4B24-9E66-11A308A1D20D}"/>
</file>

<file path=customXml/itemProps2.xml><?xml version="1.0" encoding="utf-8"?>
<ds:datastoreItem xmlns:ds="http://schemas.openxmlformats.org/officeDocument/2006/customXml" ds:itemID="{7C1830C8-F522-4AF4-83DD-915E4EE23EB4}">
  <ds:schemaRefs>
    <ds:schemaRef ds:uri="http://purl.org/dc/elements/1.1/"/>
    <ds:schemaRef ds:uri="http://schemas.microsoft.com/office/2006/documentManagement/types"/>
    <ds:schemaRef ds:uri="http://purl.org/dc/terms/"/>
    <ds:schemaRef ds:uri="f9b258c7-9c72-463b-80f6-91d061ebb25d"/>
    <ds:schemaRef ds:uri="http://purl.org/dc/dcmitype/"/>
    <ds:schemaRef ds:uri="http://www.w3.org/XML/1998/namespace"/>
    <ds:schemaRef ds:uri="http://schemas.microsoft.com/sharepoint/v3/field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753</TotalTime>
  <Words>4369</Words>
  <Application>Microsoft Office PowerPoint</Application>
  <PresentationFormat>On-screen Show (4:3)</PresentationFormat>
  <Paragraphs>630</Paragraphs>
  <Slides>45</Slides>
  <Notes>45</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45</vt:i4>
      </vt:variant>
    </vt:vector>
  </HeadingPairs>
  <TitlesOfParts>
    <vt:vector size="61" baseType="lpstr">
      <vt:lpstr>宋体</vt:lpstr>
      <vt:lpstr>Arial</vt:lpstr>
      <vt:lpstr>Arial Narrow</vt:lpstr>
      <vt:lpstr>Calibri</vt:lpstr>
      <vt:lpstr>Symbol</vt:lpstr>
      <vt:lpstr>Verdana</vt:lpstr>
      <vt:lpstr>Wingdings</vt:lpstr>
      <vt:lpstr>Section slides</vt:lpstr>
      <vt:lpstr>Content Layouts</vt:lpstr>
      <vt:lpstr>Content and Image Layouts</vt:lpstr>
      <vt:lpstr>1_Section slides</vt:lpstr>
      <vt:lpstr>2_Section slides</vt:lpstr>
      <vt:lpstr>1_Content Layouts</vt:lpstr>
      <vt:lpstr>1_Content and Image Layouts</vt:lpstr>
      <vt:lpstr>3_Section slides</vt:lpstr>
      <vt:lpstr>think-cell Slide</vt:lpstr>
      <vt:lpstr>MongoDB – CR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701</cp:revision>
  <dcterms:created xsi:type="dcterms:W3CDTF">2012-05-18T02:59:15Z</dcterms:created>
  <dcterms:modified xsi:type="dcterms:W3CDTF">2018-05-14T13:2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